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5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0"/>
  </p:notesMasterIdLst>
  <p:sldIdLst>
    <p:sldId id="300" r:id="rId2"/>
    <p:sldId id="258" r:id="rId3"/>
    <p:sldId id="280" r:id="rId4"/>
    <p:sldId id="266" r:id="rId5"/>
    <p:sldId id="269" r:id="rId6"/>
    <p:sldId id="270" r:id="rId7"/>
    <p:sldId id="283" r:id="rId8"/>
    <p:sldId id="282" r:id="rId9"/>
    <p:sldId id="307" r:id="rId10"/>
    <p:sldId id="286" r:id="rId11"/>
    <p:sldId id="677" r:id="rId12"/>
    <p:sldId id="679" r:id="rId13"/>
    <p:sldId id="680" r:id="rId14"/>
    <p:sldId id="678" r:id="rId15"/>
    <p:sldId id="272" r:id="rId16"/>
    <p:sldId id="273" r:id="rId17"/>
    <p:sldId id="292" r:id="rId18"/>
    <p:sldId id="293" r:id="rId19"/>
    <p:sldId id="274" r:id="rId20"/>
    <p:sldId id="676" r:id="rId21"/>
    <p:sldId id="681" r:id="rId22"/>
    <p:sldId id="682" r:id="rId23"/>
    <p:sldId id="704" r:id="rId24"/>
    <p:sldId id="683" r:id="rId25"/>
    <p:sldId id="685" r:id="rId26"/>
    <p:sldId id="684" r:id="rId27"/>
    <p:sldId id="686" r:id="rId28"/>
    <p:sldId id="687" r:id="rId29"/>
    <p:sldId id="691" r:id="rId30"/>
    <p:sldId id="688" r:id="rId31"/>
    <p:sldId id="692" r:id="rId32"/>
    <p:sldId id="689" r:id="rId33"/>
    <p:sldId id="693" r:id="rId34"/>
    <p:sldId id="694" r:id="rId35"/>
    <p:sldId id="690" r:id="rId36"/>
    <p:sldId id="695" r:id="rId37"/>
    <p:sldId id="696" r:id="rId38"/>
    <p:sldId id="697" r:id="rId39"/>
    <p:sldId id="698" r:id="rId40"/>
    <p:sldId id="701" r:id="rId41"/>
    <p:sldId id="705" r:id="rId42"/>
    <p:sldId id="699" r:id="rId43"/>
    <p:sldId id="706" r:id="rId44"/>
    <p:sldId id="702" r:id="rId45"/>
    <p:sldId id="700" r:id="rId46"/>
    <p:sldId id="703" r:id="rId47"/>
    <p:sldId id="669" r:id="rId48"/>
    <p:sldId id="675" r:id="rId49"/>
    <p:sldId id="670" r:id="rId50"/>
    <p:sldId id="671" r:id="rId51"/>
    <p:sldId id="672" r:id="rId52"/>
    <p:sldId id="673" r:id="rId53"/>
    <p:sldId id="505" r:id="rId54"/>
    <p:sldId id="510" r:id="rId55"/>
    <p:sldId id="511" r:id="rId56"/>
    <p:sldId id="519" r:id="rId57"/>
    <p:sldId id="645" r:id="rId58"/>
    <p:sldId id="479" r:id="rId59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8B314456-4B4C-4B36-9219-980102937F6D}">
          <p14:sldIdLst>
            <p14:sldId id="300"/>
            <p14:sldId id="258"/>
            <p14:sldId id="280"/>
            <p14:sldId id="266"/>
            <p14:sldId id="269"/>
            <p14:sldId id="270"/>
            <p14:sldId id="283"/>
            <p14:sldId id="282"/>
            <p14:sldId id="307"/>
            <p14:sldId id="286"/>
            <p14:sldId id="677"/>
            <p14:sldId id="679"/>
            <p14:sldId id="680"/>
            <p14:sldId id="678"/>
            <p14:sldId id="272"/>
            <p14:sldId id="273"/>
            <p14:sldId id="292"/>
            <p14:sldId id="293"/>
            <p14:sldId id="274"/>
            <p14:sldId id="676"/>
            <p14:sldId id="681"/>
            <p14:sldId id="682"/>
            <p14:sldId id="704"/>
            <p14:sldId id="683"/>
            <p14:sldId id="685"/>
            <p14:sldId id="684"/>
            <p14:sldId id="686"/>
            <p14:sldId id="687"/>
            <p14:sldId id="691"/>
            <p14:sldId id="688"/>
            <p14:sldId id="692"/>
            <p14:sldId id="689"/>
            <p14:sldId id="693"/>
            <p14:sldId id="694"/>
            <p14:sldId id="690"/>
            <p14:sldId id="695"/>
            <p14:sldId id="696"/>
            <p14:sldId id="697"/>
            <p14:sldId id="698"/>
            <p14:sldId id="701"/>
            <p14:sldId id="705"/>
            <p14:sldId id="699"/>
            <p14:sldId id="706"/>
            <p14:sldId id="702"/>
            <p14:sldId id="700"/>
            <p14:sldId id="703"/>
            <p14:sldId id="669"/>
            <p14:sldId id="675"/>
            <p14:sldId id="670"/>
            <p14:sldId id="671"/>
            <p14:sldId id="672"/>
            <p14:sldId id="673"/>
            <p14:sldId id="505"/>
            <p14:sldId id="510"/>
            <p14:sldId id="511"/>
            <p14:sldId id="519"/>
            <p14:sldId id="645"/>
            <p14:sldId id="479"/>
          </p14:sldIdLst>
        </p14:section>
        <p14:section name="доп слайды" id="{0A5E0976-12A8-4C90-BC88-E7445F4ED58A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Мегдальский Денис Игоревич" initials="МДИ" lastIdx="6" clrIdx="0">
    <p:extLst>
      <p:ext uri="{19B8F6BF-5375-455C-9EA6-DF929625EA0E}">
        <p15:presenceInfo xmlns:p15="http://schemas.microsoft.com/office/powerpoint/2012/main" userId="S-1-5-21-4226584364-21557989-1436132917-16449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E1F2"/>
    <a:srgbClr val="176BBD"/>
    <a:srgbClr val="49198B"/>
    <a:srgbClr val="2A3393"/>
    <a:srgbClr val="62C7F1"/>
    <a:srgbClr val="E3EAF6"/>
    <a:srgbClr val="2C2D8F"/>
    <a:srgbClr val="668CCF"/>
    <a:srgbClr val="ED7D31"/>
    <a:srgbClr val="7899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6408" autoAdjust="0"/>
  </p:normalViewPr>
  <p:slideViewPr>
    <p:cSldViewPr snapToGrid="0">
      <p:cViewPr varScale="1">
        <p:scale>
          <a:sx n="62" d="100"/>
          <a:sy n="62" d="100"/>
        </p:scale>
        <p:origin x="72" y="21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viewProps" Target="viewProps.xml"/><Relationship Id="rId68" Type="http://schemas.openxmlformats.org/officeDocument/2006/relationships/customXml" Target="../customXml/item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customXml" Target="../customXml/item1.xml"/><Relationship Id="rId5" Type="http://schemas.openxmlformats.org/officeDocument/2006/relationships/slide" Target="slides/slide4.xml"/><Relationship Id="rId61" Type="http://schemas.openxmlformats.org/officeDocument/2006/relationships/commentAuthors" Target="commentAuthor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heme" Target="theme/theme1.xml"/><Relationship Id="rId69" Type="http://schemas.openxmlformats.org/officeDocument/2006/relationships/customXml" Target="../customXml/item4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customXml" Target="../customXml/item2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notesMaster" Target="notesMasters/notesMaster1.xml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00B050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FEB3-47EF-B510-A8BDDA8EB685}"/>
              </c:ext>
            </c:extLst>
          </c:dPt>
          <c:dPt>
            <c:idx val="1"/>
            <c:bubble3D val="0"/>
            <c:spPr>
              <a:solidFill>
                <a:srgbClr val="7030A0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FEB3-47EF-B510-A8BDDA8EB685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FEB3-47EF-B510-A8BDDA8EB68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FEB3-47EF-B510-A8BDDA8EB685}"/>
              </c:ext>
            </c:extLst>
          </c:dPt>
          <c:dLbls>
            <c:dLbl>
              <c:idx val="0"/>
              <c:layout>
                <c:manualLayout>
                  <c:x val="6.6199125428192424E-2"/>
                  <c:y val="-1.1718749279112428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sz="1800" dirty="0">
                        <a:solidFill>
                          <a:srgbClr val="00B050"/>
                        </a:solidFill>
                      </a:rPr>
                      <a:t>ЖИВЫЕ СИСТЕМЫ</a:t>
                    </a:r>
                    <a:endParaRPr lang="ru-RU" sz="1800" baseline="0" dirty="0">
                      <a:solidFill>
                        <a:srgbClr val="00B050"/>
                      </a:solidFill>
                    </a:endParaRPr>
                  </a:p>
                </c:rich>
              </c:tx>
              <c:spPr>
                <a:solidFill>
                  <a:prstClr val="white"/>
                </a:solidFill>
                <a:ln>
                  <a:solidFill>
                    <a:srgbClr val="00B050"/>
                  </a:solidFill>
                </a:ln>
                <a:effectLst/>
              </c:sp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</c15:spPr>
                  <c15:layout>
                    <c:manualLayout>
                      <c:w val="0.19463370081666742"/>
                      <c:h val="0.1631205608316583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EB3-47EF-B510-A8BDDA8EB685}"/>
                </c:ext>
              </c:extLst>
            </c:dLbl>
            <c:dLbl>
              <c:idx val="1"/>
              <c:layout>
                <c:manualLayout>
                  <c:x val="-0.10740345897577755"/>
                  <c:y val="-3.5156247837337118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baseline="0" dirty="0">
                        <a:solidFill>
                          <a:srgbClr val="7030A0"/>
                        </a:solidFill>
                      </a:rPr>
                      <a:t>ФИЗИЧЕСКИЕ СИСТЕМЫ</a:t>
                    </a:r>
                  </a:p>
                </c:rich>
              </c:tx>
              <c:spPr>
                <a:solidFill>
                  <a:prstClr val="white"/>
                </a:solidFill>
                <a:ln>
                  <a:solidFill>
                    <a:srgbClr val="5B9BD5"/>
                  </a:solidFill>
                </a:ln>
                <a:effectLst/>
              </c:sp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</c15:spPr>
                  <c15:layout>
                    <c:manualLayout>
                      <c:w val="0.27623293964832946"/>
                      <c:h val="0.181870559678238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EB3-47EF-B510-A8BDDA8EB685}"/>
                </c:ext>
              </c:extLst>
            </c:dLbl>
            <c:dLbl>
              <c:idx val="2"/>
              <c:layout>
                <c:manualLayout>
                  <c:x val="-3.4606788059557886E-2"/>
                  <c:y val="2.5781340687663589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baseline="0" dirty="0">
                        <a:solidFill>
                          <a:srgbClr val="ED7D31"/>
                        </a:solidFill>
                      </a:rPr>
                      <a:t>НАУКИ О ЗЕМЛЕ И ВСЕЛЕННОЙ</a:t>
                    </a:r>
                  </a:p>
                </c:rich>
              </c:tx>
              <c:spPr>
                <a:solidFill>
                  <a:prstClr val="white"/>
                </a:solidFill>
                <a:ln>
                  <a:solidFill>
                    <a:srgbClr val="5B9BD5"/>
                  </a:solidFill>
                </a:ln>
                <a:effectLst/>
              </c:sp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</c15:spPr>
                  <c15:layout>
                    <c:manualLayout>
                      <c:w val="0.29217674933249949"/>
                      <c:h val="0.25965869465682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FEB3-47EF-B510-A8BDDA8EB685}"/>
                </c:ext>
              </c:extLst>
            </c:dLbl>
            <c:dLbl>
              <c:idx val="3"/>
              <c:spPr>
                <a:solidFill>
                  <a:prstClr val="white"/>
                </a:solidFill>
                <a:ln>
                  <a:solidFill>
                    <a:srgbClr val="5B9BD5"/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FEB3-47EF-B510-A8BDDA8EB685}"/>
                </c:ext>
              </c:extLst>
            </c:dLbl>
            <c:spPr>
              <a:solidFill>
                <a:prstClr val="white"/>
              </a:solidFill>
              <a:ln>
                <a:solidFill>
                  <a:srgbClr val="5B9BD5"/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</c15:spPr>
              </c:ext>
            </c:extLst>
          </c:dLbls>
          <c:cat>
            <c:strRef>
              <c:f>Лист1!$A$2:$A$5</c:f>
              <c:strCache>
                <c:ptCount val="3"/>
                <c:pt idx="0">
                  <c:v>"Живые системы"</c:v>
                </c:pt>
                <c:pt idx="1">
                  <c:v>"Физические системы"</c:v>
                </c:pt>
                <c:pt idx="2">
                  <c:v>"Земля и космические системы"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4</c:v>
                </c:pt>
                <c:pt idx="1">
                  <c:v>0.33</c:v>
                </c:pt>
                <c:pt idx="2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EB3-47EF-B510-A8BDDA8EB685}"/>
            </c:ext>
          </c:extLst>
        </c:ser>
        <c:dLbls>
          <c:dLblPos val="outEnd"/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56728E-7B58-4258-ACF1-6AFD9B644731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C96344-AB4E-4E43-8796-67C97B8F4B34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40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1202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05726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09365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48402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00785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01829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40122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88300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05407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70843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520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8742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57617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81177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13561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791720" y="541356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667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823720" y="1010678"/>
            <a:ext cx="54864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40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0" name="Flowchart: Off-page Connector 9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80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6874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3572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85407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9575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47135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37233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4792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80143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2936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g"/><Relationship Id="rId5" Type="http://schemas.openxmlformats.org/officeDocument/2006/relationships/image" Target="../media/image16.jpg"/><Relationship Id="rId4" Type="http://schemas.openxmlformats.org/officeDocument/2006/relationships/image" Target="../media/image15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png"/><Relationship Id="rId4" Type="http://schemas.openxmlformats.org/officeDocument/2006/relationships/image" Target="../media/image19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1.png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6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9.png"/><Relationship Id="rId4" Type="http://schemas.openxmlformats.org/officeDocument/2006/relationships/image" Target="../media/image3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3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0.png"/><Relationship Id="rId4" Type="http://schemas.openxmlformats.org/officeDocument/2006/relationships/image" Target="../media/image4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5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6.png"/><Relationship Id="rId4" Type="http://schemas.openxmlformats.org/officeDocument/2006/relationships/image" Target="../media/image5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9.png"/><Relationship Id="rId4" Type="http://schemas.openxmlformats.org/officeDocument/2006/relationships/image" Target="../media/image5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6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2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5.png"/><Relationship Id="rId4" Type="http://schemas.openxmlformats.org/officeDocument/2006/relationships/image" Target="../media/image73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image" Target="../media/image79.png"/><Relationship Id="rId7" Type="http://schemas.openxmlformats.org/officeDocument/2006/relationships/image" Target="../media/image8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2.png"/><Relationship Id="rId11" Type="http://schemas.openxmlformats.org/officeDocument/2006/relationships/image" Target="../media/image87.png"/><Relationship Id="rId5" Type="http://schemas.openxmlformats.org/officeDocument/2006/relationships/image" Target="../media/image81.png"/><Relationship Id="rId10" Type="http://schemas.openxmlformats.org/officeDocument/2006/relationships/image" Target="../media/image86.png"/><Relationship Id="rId4" Type="http://schemas.openxmlformats.org/officeDocument/2006/relationships/image" Target="../media/image80.png"/><Relationship Id="rId9" Type="http://schemas.openxmlformats.org/officeDocument/2006/relationships/image" Target="../media/image85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1.png"/><Relationship Id="rId4" Type="http://schemas.openxmlformats.org/officeDocument/2006/relationships/hyperlink" Target="https://cifra.school/" TargetMode="Externa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3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5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7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8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hyperlink" Target="mailto:Olitvinov@prosv.ru" TargetMode="External"/><Relationship Id="rId4" Type="http://schemas.openxmlformats.org/officeDocument/2006/relationships/hyperlink" Target="https://www.prosv.ru/webinars" TargetMode="Externa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hyperlink" Target="mailto:prosv@prosv.ru" TargetMode="External"/><Relationship Id="rId7" Type="http://schemas.openxmlformats.org/officeDocument/2006/relationships/image" Target="../media/image101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0.jpeg"/><Relationship Id="rId5" Type="http://schemas.openxmlformats.org/officeDocument/2006/relationships/hyperlink" Target="http://www.spheres.ru/" TargetMode="External"/><Relationship Id="rId4" Type="http://schemas.openxmlformats.org/officeDocument/2006/relationships/hyperlink" Target="http://www.prosv.ru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estestvenno-nauchnaya-gramotnost-fizicheskie-sistemy-trenazhyor-7-9-klassy15107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hyperlink" Target="https://shop.prosv.ru/estestvenno-nauchnaya-gramotnost-zemlya-i-kosmicheskie-sistemy-trenazhyor-7-9-klassy15108" TargetMode="Externa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7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0" y="-24087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02735" y="1739281"/>
            <a:ext cx="10252617" cy="1169551"/>
          </a:xfrm>
        </p:spPr>
        <p:txBody>
          <a:bodyPr wrap="square"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4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«Решение задач по естественно-научной грамотности на уроках физики»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972050" y="4543865"/>
            <a:ext cx="7112286" cy="923330"/>
          </a:xfrm>
        </p:spPr>
        <p:txBody>
          <a:bodyPr wrap="square" lIns="0" tIns="0" rIns="0" bIns="0">
            <a:sp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едущий методист по физике</a:t>
            </a:r>
          </a:p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Центра методической поддержки педагогов</a:t>
            </a:r>
          </a:p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Литвинов Олег Андреевич</a:t>
            </a: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C5B8FA12-8F11-450D-B1D4-14C77A453207}"/>
              </a:ext>
            </a:extLst>
          </p:cNvPr>
          <p:cNvGrpSpPr/>
          <p:nvPr/>
        </p:nvGrpSpPr>
        <p:grpSpPr>
          <a:xfrm>
            <a:off x="9480931" y="560251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0" y="5972139"/>
            <a:ext cx="814492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се права защищены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икакая часть презентации не может быть воспроизведена в какой бы то ни было форме и какими бы то ни было средствами, включая размещение в сети Интернет и в корпоративных сетях, а также запись в память ЭВМ, для частного или публичного использования, без письменного разрешения владельца авторских прав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</a:p>
        </p:txBody>
      </p:sp>
    </p:spTree>
    <p:extLst>
      <p:ext uri="{BB962C8B-B14F-4D97-AF65-F5344CB8AC3E}">
        <p14:creationId xmlns:p14="http://schemas.microsoft.com/office/powerpoint/2010/main" val="20010653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723" y="674313"/>
            <a:ext cx="3862868" cy="26227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Box 6"/>
          <p:cNvSpPr txBox="1"/>
          <p:nvPr/>
        </p:nvSpPr>
        <p:spPr>
          <a:xfrm>
            <a:off x="4917247" y="1420307"/>
            <a:ext cx="565563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РИСОВКА СИТУАЦИИ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11880" y="2555742"/>
            <a:ext cx="8239425" cy="2881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0681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915" y="730039"/>
            <a:ext cx="3490913" cy="23701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1038" y="1109585"/>
            <a:ext cx="6703256" cy="39979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251" y="3535497"/>
            <a:ext cx="5210337" cy="24524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482568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A7C0898-E9CF-4CAA-9BB3-5D00DB93FC76}"/>
              </a:ext>
            </a:extLst>
          </p:cNvPr>
          <p:cNvSpPr txBox="1"/>
          <p:nvPr/>
        </p:nvSpPr>
        <p:spPr>
          <a:xfrm>
            <a:off x="511445" y="140391"/>
            <a:ext cx="91594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еобразование кинетической энергии, получаемой при движении владельца устройства</a:t>
            </a:r>
          </a:p>
        </p:txBody>
      </p:sp>
      <p:pic>
        <p:nvPicPr>
          <p:cNvPr id="8" name="Рисунок 7" descr="Изображение выглядит как внутренний, стол, сидит, черный&#10;&#10;Автоматически созданное описание">
            <a:extLst>
              <a:ext uri="{FF2B5EF4-FFF2-40B4-BE49-F238E27FC236}">
                <a16:creationId xmlns:a16="http://schemas.microsoft.com/office/drawing/2014/main" id="{EF6AD8E8-4505-4E22-A011-33BC79B5D2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370" y="1232914"/>
            <a:ext cx="3905325" cy="21981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Рисунок 11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12B09FD0-5C71-4DF3-BC2B-0C5ED3185C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471" y="3942870"/>
            <a:ext cx="4724722" cy="21905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Рисунок 13" descr="Изображение выглядит как обувь, стол, маленький, сидит&#10;&#10;Автоматически созданное описание">
            <a:extLst>
              <a:ext uri="{FF2B5EF4-FFF2-40B4-BE49-F238E27FC236}">
                <a16:creationId xmlns:a16="http://schemas.microsoft.com/office/drawing/2014/main" id="{1D401F87-552A-465A-B07A-B82089FAD6D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9449" y="3942869"/>
            <a:ext cx="3258101" cy="2190553"/>
          </a:xfrm>
          <a:prstGeom prst="rect">
            <a:avLst/>
          </a:prstGeom>
        </p:spPr>
      </p:pic>
      <p:pic>
        <p:nvPicPr>
          <p:cNvPr id="16" name="Рисунок 15" descr="Изображение выглядит как одежда&#10;&#10;Автоматически созданное описание">
            <a:extLst>
              <a:ext uri="{FF2B5EF4-FFF2-40B4-BE49-F238E27FC236}">
                <a16:creationId xmlns:a16="http://schemas.microsoft.com/office/drawing/2014/main" id="{D1ED2CCC-AAB0-48B7-B602-797462D1337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471" y="1232914"/>
            <a:ext cx="2928114" cy="21960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5748D852-4622-40C7-A54A-A02AD3370280}"/>
              </a:ext>
            </a:extLst>
          </p:cNvPr>
          <p:cNvSpPr/>
          <p:nvPr/>
        </p:nvSpPr>
        <p:spPr>
          <a:xfrm>
            <a:off x="7769817" y="1445784"/>
            <a:ext cx="4422183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Генератор-накопитель, который крепится к обуви и использует энергию шага. Он представляет собой накладку на язычок кроссовка, содержащую систему </a:t>
            </a:r>
            <a:r>
              <a:rPr lang="ru-RU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аногенераторов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и аккумуляторную батарею, которая накапливает энергию во время движения. С помощью этого устройства можно зарядить мобильный телефон или MP3‑плеер.</a:t>
            </a:r>
          </a:p>
        </p:txBody>
      </p:sp>
    </p:spTree>
    <p:extLst>
      <p:ext uri="{BB962C8B-B14F-4D97-AF65-F5344CB8AC3E}">
        <p14:creationId xmlns:p14="http://schemas.microsoft.com/office/powerpoint/2010/main" val="11638487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A7C0898-E9CF-4CAA-9BB3-5D00DB93FC76}"/>
              </a:ext>
            </a:extLst>
          </p:cNvPr>
          <p:cNvSpPr txBox="1"/>
          <p:nvPr/>
        </p:nvSpPr>
        <p:spPr>
          <a:xfrm>
            <a:off x="511445" y="102984"/>
            <a:ext cx="91594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е принципа динамо-машины</a:t>
            </a:r>
          </a:p>
        </p:txBody>
      </p:sp>
      <p:pic>
        <p:nvPicPr>
          <p:cNvPr id="6" name="Рисунок 5" descr="Изображение выглядит как стол, внутренний, черный, сидит&#10;&#10;Автоматически созданное описание">
            <a:extLst>
              <a:ext uri="{FF2B5EF4-FFF2-40B4-BE49-F238E27FC236}">
                <a16:creationId xmlns:a16="http://schemas.microsoft.com/office/drawing/2014/main" id="{E7CEEF29-2D41-43BF-8FC8-9720F29C995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458" y="797054"/>
            <a:ext cx="4297874" cy="32234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 descr="Изображение выглядит как внутренний, сидит, стол, чемодан&#10;&#10;Автоматически созданное описание">
            <a:extLst>
              <a:ext uri="{FF2B5EF4-FFF2-40B4-BE49-F238E27FC236}">
                <a16:creationId xmlns:a16="http://schemas.microsoft.com/office/drawing/2014/main" id="{4DEA7A30-DC88-4E8D-ACCB-D51A0C52351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133" y="797054"/>
            <a:ext cx="4297874" cy="32234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 descr="Изображение выглядит как сидит, стол, удаленный, черный&#10;&#10;Автоматически созданное описание">
            <a:extLst>
              <a:ext uri="{FF2B5EF4-FFF2-40B4-BE49-F238E27FC236}">
                <a16:creationId xmlns:a16="http://schemas.microsoft.com/office/drawing/2014/main" id="{F4069043-8367-46ED-BD69-CB5C4D9E7CC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7531" y="2986167"/>
            <a:ext cx="4082256" cy="34290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801693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915" y="730039"/>
            <a:ext cx="3490913" cy="23701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1038" y="1109585"/>
            <a:ext cx="6703256" cy="39979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251" y="3535497"/>
            <a:ext cx="5210337" cy="24524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Овал 2">
            <a:extLst>
              <a:ext uri="{FF2B5EF4-FFF2-40B4-BE49-F238E27FC236}">
                <a16:creationId xmlns:a16="http://schemas.microsoft.com/office/drawing/2014/main" id="{FB6F09BB-8855-4E23-A840-85E2F83D125B}"/>
              </a:ext>
            </a:extLst>
          </p:cNvPr>
          <p:cNvSpPr/>
          <p:nvPr/>
        </p:nvSpPr>
        <p:spPr>
          <a:xfrm>
            <a:off x="10170942" y="2250831"/>
            <a:ext cx="773723" cy="59084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B1F3C1CD-D2C4-4E42-A9F4-5C267E923FBF}"/>
              </a:ext>
            </a:extLst>
          </p:cNvPr>
          <p:cNvSpPr/>
          <p:nvPr/>
        </p:nvSpPr>
        <p:spPr>
          <a:xfrm>
            <a:off x="10944665" y="3184213"/>
            <a:ext cx="773723" cy="59084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C3EA844C-FD87-466C-9B5D-A705A3C31FC3}"/>
              </a:ext>
            </a:extLst>
          </p:cNvPr>
          <p:cNvSpPr/>
          <p:nvPr/>
        </p:nvSpPr>
        <p:spPr>
          <a:xfrm>
            <a:off x="10235797" y="3864633"/>
            <a:ext cx="773723" cy="57664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403A1960-AACA-4BC2-ABDE-A8E79518F327}"/>
              </a:ext>
            </a:extLst>
          </p:cNvPr>
          <p:cNvSpPr/>
          <p:nvPr/>
        </p:nvSpPr>
        <p:spPr>
          <a:xfrm>
            <a:off x="10944664" y="4561436"/>
            <a:ext cx="773723" cy="59084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47728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915" y="730039"/>
            <a:ext cx="3490913" cy="23701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Box 6"/>
          <p:cNvSpPr txBox="1"/>
          <p:nvPr/>
        </p:nvSpPr>
        <p:spPr>
          <a:xfrm>
            <a:off x="4346031" y="779761"/>
            <a:ext cx="565563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РИСОВКА СИТУАЦИИ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46031" y="1189447"/>
            <a:ext cx="5945598" cy="207962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25739" y="3318284"/>
            <a:ext cx="8551651" cy="32557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TextBox 10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</p:spTree>
    <p:extLst>
      <p:ext uri="{BB962C8B-B14F-4D97-AF65-F5344CB8AC3E}">
        <p14:creationId xmlns:p14="http://schemas.microsoft.com/office/powerpoint/2010/main" val="12753661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915" y="730039"/>
            <a:ext cx="3490913" cy="23701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35828" y="730039"/>
            <a:ext cx="6475365" cy="46478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834A631-053A-41B4-8790-F41BC8D1B5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50464" y="5377912"/>
            <a:ext cx="8334787" cy="707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3488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915" y="730039"/>
            <a:ext cx="3490913" cy="23701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31713" y="3757776"/>
            <a:ext cx="8336384" cy="23858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7269EA9-9E37-46D6-A478-056C2FA0D7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93674" y="674313"/>
            <a:ext cx="6574692" cy="2695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5772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915" y="730039"/>
            <a:ext cx="3490913" cy="23701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5651" y="898902"/>
            <a:ext cx="6598042" cy="53917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605300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915" y="730039"/>
            <a:ext cx="3490913" cy="23701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50696" y="3272835"/>
            <a:ext cx="6658632" cy="33744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DCB5334-1853-40F5-8582-BA113AD8D4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49929" y="643541"/>
            <a:ext cx="5702202" cy="254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6469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189885" cy="3129501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5968" y="3874184"/>
            <a:ext cx="7876032" cy="298381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901" y="3269147"/>
            <a:ext cx="3638550" cy="32385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7" name="TextBox 6"/>
          <p:cNvSpPr txBox="1"/>
          <p:nvPr/>
        </p:nvSpPr>
        <p:spPr>
          <a:xfrm>
            <a:off x="5535168" y="1716071"/>
            <a:ext cx="653491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ЕСТЕСТВЕННО-НАУЧНАЯ ГРАМОТНОСТЬ В ФОКУСЕ</a:t>
            </a:r>
          </a:p>
        </p:txBody>
      </p:sp>
    </p:spTree>
    <p:extLst>
      <p:ext uri="{BB962C8B-B14F-4D97-AF65-F5344CB8AC3E}">
        <p14:creationId xmlns:p14="http://schemas.microsoft.com/office/powerpoint/2010/main" val="7094722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814470" y="725166"/>
            <a:ext cx="565563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РИСОВКА СИТУАЦИИ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B82E8FE-6A9E-4ED3-87CD-094488257B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670" y="674314"/>
            <a:ext cx="4429502" cy="2902316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5D9BD77-B2D4-4488-9D71-0098919D24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10415" y="1268462"/>
            <a:ext cx="6742665" cy="204817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E83AC16-08D5-45C0-93B3-9FBBCEF23C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10416" y="3193531"/>
            <a:ext cx="6742664" cy="1749448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FC691CF-719A-4CC8-B34E-D56DB2B716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173" y="3652867"/>
            <a:ext cx="5360788" cy="2734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6481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B82E8FE-6A9E-4ED3-87CD-094488257B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670" y="674314"/>
            <a:ext cx="4429502" cy="2902316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F0B2EA4-ED2A-4FA2-B8FD-57998B0C7B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45529" y="934846"/>
            <a:ext cx="6926321" cy="343567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AAD12CC9-BC84-4879-9CE4-7B8D27DED0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5616" y="4294379"/>
            <a:ext cx="6806233" cy="233708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2968241-D3FA-4866-B531-C9923B69C2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251" y="3837163"/>
            <a:ext cx="4970278" cy="1593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6873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B82E8FE-6A9E-4ED3-87CD-094488257B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670" y="674314"/>
            <a:ext cx="4429502" cy="2902316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F0B2EA4-ED2A-4FA2-B8FD-57998B0C7B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45529" y="934846"/>
            <a:ext cx="6926321" cy="343567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AAD12CC9-BC84-4879-9CE4-7B8D27DED0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5616" y="4294379"/>
            <a:ext cx="6806233" cy="2337080"/>
          </a:xfrm>
          <a:prstGeom prst="rect">
            <a:avLst/>
          </a:prstGeom>
        </p:spPr>
      </p:pic>
      <p:sp>
        <p:nvSpPr>
          <p:cNvPr id="3" name="Овал 2">
            <a:extLst>
              <a:ext uri="{FF2B5EF4-FFF2-40B4-BE49-F238E27FC236}">
                <a16:creationId xmlns:a16="http://schemas.microsoft.com/office/drawing/2014/main" id="{432EC2D5-33D7-4490-AFA5-88BE638A15F3}"/>
              </a:ext>
            </a:extLst>
          </p:cNvPr>
          <p:cNvSpPr/>
          <p:nvPr/>
        </p:nvSpPr>
        <p:spPr>
          <a:xfrm>
            <a:off x="10290875" y="3797085"/>
            <a:ext cx="681925" cy="37195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DE393C09-F677-4D80-BF51-66DAD84BD695}"/>
              </a:ext>
            </a:extLst>
          </p:cNvPr>
          <p:cNvSpPr/>
          <p:nvPr/>
        </p:nvSpPr>
        <p:spPr>
          <a:xfrm>
            <a:off x="10290874" y="5129030"/>
            <a:ext cx="681925" cy="37195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A97C2D4E-2E2D-415F-B53A-7E5992D9536D}"/>
              </a:ext>
            </a:extLst>
          </p:cNvPr>
          <p:cNvSpPr/>
          <p:nvPr/>
        </p:nvSpPr>
        <p:spPr>
          <a:xfrm>
            <a:off x="10988296" y="3243021"/>
            <a:ext cx="821412" cy="360388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7F81CB19-18E0-4364-A536-911776AC77C6}"/>
              </a:ext>
            </a:extLst>
          </p:cNvPr>
          <p:cNvSpPr/>
          <p:nvPr/>
        </p:nvSpPr>
        <p:spPr>
          <a:xfrm>
            <a:off x="10948962" y="4361917"/>
            <a:ext cx="860746" cy="37195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9EC5E179-3B69-41BA-A62D-B15F109677AE}"/>
              </a:ext>
            </a:extLst>
          </p:cNvPr>
          <p:cNvSpPr/>
          <p:nvPr/>
        </p:nvSpPr>
        <p:spPr>
          <a:xfrm>
            <a:off x="10972799" y="5737174"/>
            <a:ext cx="836909" cy="45478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09366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B82E8FE-6A9E-4ED3-87CD-094488257B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670" y="674314"/>
            <a:ext cx="4429502" cy="2902316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F0B2EA4-ED2A-4FA2-B8FD-57998B0C7B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45529" y="934846"/>
            <a:ext cx="6926321" cy="343567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AAD12CC9-BC84-4879-9CE4-7B8D27DED0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5616" y="4294379"/>
            <a:ext cx="6806233" cy="233708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C072EBD-3990-472A-9E45-674F94735A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69831" y="3576630"/>
            <a:ext cx="6806233" cy="30618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0422273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B82E8FE-6A9E-4ED3-87CD-094488257B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670" y="674314"/>
            <a:ext cx="4429502" cy="2902316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A4F37AE-95F3-4A12-9A7C-1AF604DA65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9971" y="971387"/>
            <a:ext cx="7357505" cy="4871473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FC31F82-33B4-4D4B-989E-A807B8F24B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4458" y="3744977"/>
            <a:ext cx="4733925" cy="2305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7548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B82E8FE-6A9E-4ED3-87CD-094488257B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670" y="674314"/>
            <a:ext cx="4429502" cy="2902316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A4F37AE-95F3-4A12-9A7C-1AF604DA65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9971" y="971387"/>
            <a:ext cx="7357505" cy="4871473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1621273-263D-4A15-80CD-B52F0930A5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87162" y="3029529"/>
            <a:ext cx="7490314" cy="2611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4704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B82E8FE-6A9E-4ED3-87CD-094488257B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670" y="674314"/>
            <a:ext cx="4429502" cy="2902316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987DEA8-40C6-4F4F-B3EB-A9E6A8E74A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46172" y="928768"/>
            <a:ext cx="7017042" cy="1722996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2BE2BE4-D520-48C0-8670-49D6DE3B8B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46171" y="2651764"/>
            <a:ext cx="6999865" cy="243168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2DFBBD9-0346-4B65-B25C-034E29D23D1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245" y="3620895"/>
            <a:ext cx="4733925" cy="234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10583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B82E8FE-6A9E-4ED3-87CD-094488257B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670" y="674314"/>
            <a:ext cx="4429502" cy="2902316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987DEA8-40C6-4F4F-B3EB-A9E6A8E74A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46172" y="928768"/>
            <a:ext cx="7017042" cy="1722996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2BE2BE4-D520-48C0-8670-49D6DE3B8B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46171" y="2651764"/>
            <a:ext cx="6999865" cy="2431680"/>
          </a:xfrm>
          <a:prstGeom prst="rect">
            <a:avLst/>
          </a:prstGeom>
        </p:spPr>
      </p:pic>
      <p:sp>
        <p:nvSpPr>
          <p:cNvPr id="8" name="Овал 7">
            <a:extLst>
              <a:ext uri="{FF2B5EF4-FFF2-40B4-BE49-F238E27FC236}">
                <a16:creationId xmlns:a16="http://schemas.microsoft.com/office/drawing/2014/main" id="{54145EB4-6D5B-4E43-A14F-27D966138342}"/>
              </a:ext>
            </a:extLst>
          </p:cNvPr>
          <p:cNvSpPr/>
          <p:nvPr/>
        </p:nvSpPr>
        <p:spPr>
          <a:xfrm>
            <a:off x="5005953" y="3576630"/>
            <a:ext cx="371959" cy="32894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625A158-21E2-443D-AFFF-ECA806E7B61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60090" y="5061327"/>
            <a:ext cx="4772025" cy="1504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28371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FB52014-4305-4652-80ED-409B309CF222}"/>
              </a:ext>
            </a:extLst>
          </p:cNvPr>
          <p:cNvSpPr txBox="1"/>
          <p:nvPr/>
        </p:nvSpPr>
        <p:spPr>
          <a:xfrm>
            <a:off x="4814470" y="725166"/>
            <a:ext cx="565563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РИСОВКА СИТУАЦИИ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4148B92-7A16-46F1-B1BA-A62762D727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06" y="725166"/>
            <a:ext cx="4810045" cy="3302981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F164B4A-1383-4CF8-A4BF-65D31677D2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07040" y="1217608"/>
            <a:ext cx="6705182" cy="1835557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6F2A1E5-DA5C-4BAF-8608-ACE7C5966E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07040" y="3053165"/>
            <a:ext cx="6556174" cy="380068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EDF0B4A-9351-4CCE-B3E0-0C7F79540F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173" y="4117749"/>
            <a:ext cx="5013634" cy="1570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2477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4148B92-7A16-46F1-B1BA-A62762D727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06" y="725166"/>
            <a:ext cx="4810045" cy="3302981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06467D3-1EFE-4405-A70E-3591DE9D7A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21451" y="1182754"/>
            <a:ext cx="6756222" cy="3792202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89B33D4-313C-406B-B107-8400C99D21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4326" y="4935709"/>
            <a:ext cx="9458093" cy="1523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4327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graphicFrame>
        <p:nvGraphicFramePr>
          <p:cNvPr id="6" name="Диаграмма 5"/>
          <p:cNvGraphicFramePr/>
          <p:nvPr/>
        </p:nvGraphicFramePr>
        <p:xfrm>
          <a:off x="1056068" y="1274490"/>
          <a:ext cx="1039325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725926" y="222623"/>
            <a:ext cx="705353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Естественно-научная грамотность</a:t>
            </a:r>
          </a:p>
        </p:txBody>
      </p:sp>
    </p:spTree>
    <p:extLst>
      <p:ext uri="{BB962C8B-B14F-4D97-AF65-F5344CB8AC3E}">
        <p14:creationId xmlns:p14="http://schemas.microsoft.com/office/powerpoint/2010/main" val="14742423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4148B92-7A16-46F1-B1BA-A62762D727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06" y="725166"/>
            <a:ext cx="4810045" cy="3302981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06467D3-1EFE-4405-A70E-3591DE9D7A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21451" y="1182754"/>
            <a:ext cx="6756222" cy="3792202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1FF7993-50ED-499F-A7AE-FA46C9A061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8802" y="4932336"/>
            <a:ext cx="9548086" cy="1805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2910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4148B92-7A16-46F1-B1BA-A62762D727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06" y="725166"/>
            <a:ext cx="4810045" cy="3302981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A40810E-EBB4-4AEB-ABF6-856F5C52AB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21451" y="1151369"/>
            <a:ext cx="7134225" cy="549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75995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4148B92-7A16-46F1-B1BA-A62762D727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07" y="725167"/>
            <a:ext cx="4562072" cy="3132702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E2536C7-713B-412F-89E2-B5FCB56A9A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21451" y="971387"/>
            <a:ext cx="6763007" cy="1213873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28F9479-EF76-4747-A262-CB4D8689F6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21451" y="2361261"/>
            <a:ext cx="6763007" cy="2185804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FAD8FFE-E85C-4A66-A139-FE385761A7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173" y="3351644"/>
            <a:ext cx="5252407" cy="2940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60330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4148B92-7A16-46F1-B1BA-A62762D727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07" y="725167"/>
            <a:ext cx="4562072" cy="3132702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E2536C7-713B-412F-89E2-B5FCB56A9A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21451" y="971387"/>
            <a:ext cx="6763007" cy="1213873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28F9479-EF76-4747-A262-CB4D8689F6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21451" y="2361261"/>
            <a:ext cx="6763007" cy="2185804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5B3BFD1-48E4-4330-B5FA-3B30671BFA0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7700" y="4547065"/>
            <a:ext cx="8984431" cy="2076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10063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4148B92-7A16-46F1-B1BA-A62762D727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407" y="725167"/>
            <a:ext cx="4562072" cy="3132702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E2536C7-713B-412F-89E2-B5FCB56A9A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21451" y="971387"/>
            <a:ext cx="6763007" cy="1213873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4881105-CEAC-4B03-B5D3-46A289D167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21451" y="2248898"/>
            <a:ext cx="7013281" cy="4506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780758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4148B92-7A16-46F1-B1BA-A62762D727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73" y="725166"/>
            <a:ext cx="4810045" cy="3302981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D67AF55-5924-4DE1-945F-A8E8FC6FCE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36949" y="971388"/>
            <a:ext cx="6959143" cy="2368119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CE2B288-5150-4D77-868A-2B502C79B3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36948" y="3267237"/>
            <a:ext cx="6912277" cy="3056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3230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4148B92-7A16-46F1-B1BA-A62762D727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73" y="725167"/>
            <a:ext cx="4334847" cy="2976670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D67AF55-5924-4DE1-945F-A8E8FC6FCE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21451" y="971388"/>
            <a:ext cx="6959143" cy="2368119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CD80CE7-8A69-4886-AB66-C1D6294EB9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56502" y="1812682"/>
            <a:ext cx="7507294" cy="32552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8635774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4148B92-7A16-46F1-B1BA-A62762D727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73" y="725166"/>
            <a:ext cx="4810045" cy="3302981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00DA0D4-7EB0-4E2B-AC9F-8BE4F75712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1218" y="971388"/>
            <a:ext cx="7149569" cy="5675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15580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FB52014-4305-4652-80ED-409B309CF222}"/>
              </a:ext>
            </a:extLst>
          </p:cNvPr>
          <p:cNvSpPr txBox="1"/>
          <p:nvPr/>
        </p:nvSpPr>
        <p:spPr>
          <a:xfrm>
            <a:off x="4814470" y="725166"/>
            <a:ext cx="565563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РИСОВКА СИТУАЦИИ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30E6250-A2E1-49A9-9CA4-B61FCE08DA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892" y="725166"/>
            <a:ext cx="4866862" cy="3164909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021A701-527E-4CA2-BB44-1F8CC2C3BC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40364" y="1318863"/>
            <a:ext cx="6891073" cy="1920283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97694A7-1C65-451C-8448-5BFC69EB87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96754" y="3302170"/>
            <a:ext cx="6865354" cy="3304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99513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4F691CC-1DFA-4880-AE41-E8DE81F29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892" y="725167"/>
            <a:ext cx="4559084" cy="2964762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4ACCABA-0700-4405-99E6-525D7045F3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8976" y="886242"/>
            <a:ext cx="7173132" cy="5917268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2BA26753-17FA-42A5-A13D-621EDC73D9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9892" y="3740783"/>
            <a:ext cx="4752975" cy="2933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0029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Овал 5"/>
          <p:cNvSpPr/>
          <p:nvPr/>
        </p:nvSpPr>
        <p:spPr>
          <a:xfrm>
            <a:off x="4805220" y="2126610"/>
            <a:ext cx="2991124" cy="2778873"/>
          </a:xfrm>
          <a:prstGeom prst="ellipse">
            <a:avLst/>
          </a:prstGeom>
          <a:solidFill>
            <a:srgbClr val="2F5597">
              <a:alpha val="96000"/>
            </a:srgbClr>
          </a:solidFill>
          <a:ln w="25400">
            <a:solidFill>
              <a:srgbClr val="2F5597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</p:sp>
      <p:sp>
        <p:nvSpPr>
          <p:cNvPr id="7" name="Овал 6"/>
          <p:cNvSpPr/>
          <p:nvPr/>
        </p:nvSpPr>
        <p:spPr>
          <a:xfrm>
            <a:off x="5827817" y="3600004"/>
            <a:ext cx="3156890" cy="2938390"/>
          </a:xfrm>
          <a:prstGeom prst="ellipse">
            <a:avLst/>
          </a:prstGeom>
          <a:solidFill>
            <a:srgbClr val="D64214">
              <a:alpha val="89804"/>
            </a:srgbClr>
          </a:solidFill>
          <a:ln w="38100">
            <a:solidFill>
              <a:srgbClr val="D64214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</p:sp>
      <p:cxnSp>
        <p:nvCxnSpPr>
          <p:cNvPr id="8" name="Прямая со стрелкой 7"/>
          <p:cNvCxnSpPr/>
          <p:nvPr/>
        </p:nvCxnSpPr>
        <p:spPr>
          <a:xfrm flipH="1">
            <a:off x="3235308" y="4164372"/>
            <a:ext cx="1045238" cy="664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9934161" y="5211912"/>
            <a:ext cx="2207370" cy="1001726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доровье, ресурсы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кружающая среда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вязь науки и технологии</a:t>
            </a:r>
          </a:p>
        </p:txBody>
      </p:sp>
      <p:cxnSp>
        <p:nvCxnSpPr>
          <p:cNvPr id="10" name="Прямая со стрелкой 9"/>
          <p:cNvCxnSpPr/>
          <p:nvPr/>
        </p:nvCxnSpPr>
        <p:spPr>
          <a:xfrm flipV="1">
            <a:off x="7406262" y="2370726"/>
            <a:ext cx="2527899" cy="1561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>
            <a:stCxn id="7" idx="6"/>
            <a:endCxn id="9" idx="1"/>
          </p:cNvCxnSpPr>
          <p:nvPr/>
        </p:nvCxnSpPr>
        <p:spPr>
          <a:xfrm>
            <a:off x="8984707" y="5069199"/>
            <a:ext cx="949454" cy="6435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803216" y="4246071"/>
            <a:ext cx="2965710" cy="1353439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авать научные объяснения,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менять естественно-научные методы исследования,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нтерпретировать данные,  делать вывод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113883" y="2603157"/>
            <a:ext cx="252543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держательная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дель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6949874" y="4733990"/>
            <a:ext cx="2090637" cy="707886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онтексты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ли ситуации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9954231" y="2011914"/>
            <a:ext cx="1945670" cy="71762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стественно-научные предметы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етодология</a:t>
            </a:r>
          </a:p>
        </p:txBody>
      </p:sp>
      <p:sp>
        <p:nvSpPr>
          <p:cNvPr id="16" name="Овал 15"/>
          <p:cNvSpPr/>
          <p:nvPr/>
        </p:nvSpPr>
        <p:spPr>
          <a:xfrm>
            <a:off x="3931206" y="3650370"/>
            <a:ext cx="3083631" cy="2905326"/>
          </a:xfrm>
          <a:prstGeom prst="ellipse">
            <a:avLst/>
          </a:prstGeom>
          <a:solidFill>
            <a:srgbClr val="ED7D31">
              <a:alpha val="88000"/>
            </a:srgbClr>
          </a:solidFill>
          <a:ln w="25400">
            <a:solidFill>
              <a:srgbClr val="ED7D3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</p:sp>
      <p:sp>
        <p:nvSpPr>
          <p:cNvPr id="17" name="Прямоугольник 16"/>
          <p:cNvSpPr/>
          <p:nvPr/>
        </p:nvSpPr>
        <p:spPr>
          <a:xfrm>
            <a:off x="3979324" y="4779868"/>
            <a:ext cx="273735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омпетентностная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модель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7900" y="161640"/>
            <a:ext cx="995423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Концептуальная рамка оценки функциональной грамотности в исследовании  PISA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604438" y="4212850"/>
            <a:ext cx="16716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ЛОК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АДАНИЙ</a:t>
            </a:r>
          </a:p>
        </p:txBody>
      </p:sp>
    </p:spTree>
    <p:extLst>
      <p:ext uri="{BB962C8B-B14F-4D97-AF65-F5344CB8AC3E}">
        <p14:creationId xmlns:p14="http://schemas.microsoft.com/office/powerpoint/2010/main" val="343110542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4F691CC-1DFA-4880-AE41-E8DE81F29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892" y="725167"/>
            <a:ext cx="3815166" cy="2480994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C6E7921-0A01-4CC6-8129-AEC90C1C08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8976" y="1034714"/>
            <a:ext cx="7207373" cy="1088554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E35EC8C-6047-48B9-965C-3F1C8B6923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91931" y="2101060"/>
            <a:ext cx="6555783" cy="4756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85323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4F691CC-1DFA-4880-AE41-E8DE81F29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892" y="725167"/>
            <a:ext cx="3815166" cy="2480994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C6E7921-0A01-4CC6-8129-AEC90C1C08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8976" y="1034714"/>
            <a:ext cx="7207373" cy="1088554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350A48C-B09A-471F-84AF-80E18774BA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98688" y="2215560"/>
            <a:ext cx="6780024" cy="1427373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8F8C5D6-FCD7-48EB-81AD-B135B306C4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98688" y="3642933"/>
            <a:ext cx="6780024" cy="2400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78783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4F691CC-1DFA-4880-AE41-E8DE81F29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892" y="725166"/>
            <a:ext cx="4866862" cy="3164909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0362A71-EF30-4C83-9E66-960D0259B8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96754" y="971388"/>
            <a:ext cx="6941731" cy="5161446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ED2D8EE-B3FE-4A1D-ACF0-53E8E09E71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173" y="3940928"/>
            <a:ext cx="4892066" cy="2288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50341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4F691CC-1DFA-4880-AE41-E8DE81F29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892" y="725166"/>
            <a:ext cx="4866862" cy="3164909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0362A71-EF30-4C83-9E66-960D0259B8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96754" y="971388"/>
            <a:ext cx="6941731" cy="5161446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ED2D8EE-B3FE-4A1D-ACF0-53E8E09E71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173" y="3940928"/>
            <a:ext cx="4892066" cy="2288224"/>
          </a:xfrm>
          <a:prstGeom prst="rect">
            <a:avLst/>
          </a:prstGeom>
        </p:spPr>
      </p:pic>
      <p:sp>
        <p:nvSpPr>
          <p:cNvPr id="3" name="Овал 2">
            <a:extLst>
              <a:ext uri="{FF2B5EF4-FFF2-40B4-BE49-F238E27FC236}">
                <a16:creationId xmlns:a16="http://schemas.microsoft.com/office/drawing/2014/main" id="{3D97A08E-3B40-4468-883F-FFA9E40D5563}"/>
              </a:ext>
            </a:extLst>
          </p:cNvPr>
          <p:cNvSpPr/>
          <p:nvPr/>
        </p:nvSpPr>
        <p:spPr>
          <a:xfrm>
            <a:off x="5331417" y="3053166"/>
            <a:ext cx="371959" cy="37583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2718AE8E-F420-4E08-B1DC-0C12C4A26A4A}"/>
              </a:ext>
            </a:extLst>
          </p:cNvPr>
          <p:cNvSpPr/>
          <p:nvPr/>
        </p:nvSpPr>
        <p:spPr>
          <a:xfrm>
            <a:off x="5331417" y="4212471"/>
            <a:ext cx="371959" cy="37583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30846399-CA51-4D5F-9426-80A4C3A2E84D}"/>
              </a:ext>
            </a:extLst>
          </p:cNvPr>
          <p:cNvSpPr/>
          <p:nvPr/>
        </p:nvSpPr>
        <p:spPr>
          <a:xfrm>
            <a:off x="5346915" y="4885380"/>
            <a:ext cx="371959" cy="37583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362871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4F691CC-1DFA-4880-AE41-E8DE81F29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892" y="725166"/>
            <a:ext cx="4866862" cy="3164909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33A7BED-0BE0-43CF-B672-36CB683CD2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96754" y="971388"/>
            <a:ext cx="6904991" cy="5161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19432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4F691CC-1DFA-4880-AE41-E8DE81F29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892" y="725166"/>
            <a:ext cx="4866862" cy="3164909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E8199F3-A31F-4F3E-AF8C-A4D536D614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51530" y="1182230"/>
            <a:ext cx="6710577" cy="1038542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8552226-E941-4AB4-B355-85D07711C08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99156" y="2307620"/>
            <a:ext cx="6829751" cy="396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33680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464" y="-33573"/>
            <a:ext cx="5702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Решаем задания вместе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4F691CC-1DFA-4880-AE41-E8DE81F29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892" y="725166"/>
            <a:ext cx="4866862" cy="3164909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E8199F3-A31F-4F3E-AF8C-A4D536D614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51530" y="1182230"/>
            <a:ext cx="6710577" cy="1038542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7A3BEAE-410B-4F2E-9001-EBF1E92718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80106" y="2220772"/>
            <a:ext cx="6529602" cy="450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15032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7766C25-4118-4F6C-8770-14449CA493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6730" y="652262"/>
            <a:ext cx="10101182" cy="3314827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4A4E279-9A2F-4D81-B873-618F34B32B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2495" y="3763620"/>
            <a:ext cx="10246256" cy="201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403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5523585-4302-4F38-8AEA-E18C73380EC6}"/>
              </a:ext>
            </a:extLst>
          </p:cNvPr>
          <p:cNvSpPr txBox="1"/>
          <p:nvPr/>
        </p:nvSpPr>
        <p:spPr>
          <a:xfrm>
            <a:off x="1912034" y="0"/>
            <a:ext cx="902522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4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ХОТИТЕ ЗНАТЬ БОЛЬШЕ? ВАМ ПОМОГУТ</a:t>
            </a:r>
          </a:p>
          <a:p>
            <a:pPr algn="ctr"/>
            <a:r>
              <a:rPr lang="ru-RU" sz="4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УЧЕБНИКИ ИЗДАТЕЛЬСТВА «ПРОСВЩЕНИЕ» 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7F162870-03A7-4860-91FE-8CB339E5C08C}"/>
              </a:ext>
            </a:extLst>
          </p:cNvPr>
          <p:cNvGrpSpPr/>
          <p:nvPr/>
        </p:nvGrpSpPr>
        <p:grpSpPr>
          <a:xfrm>
            <a:off x="824351" y="1658316"/>
            <a:ext cx="2474107" cy="4249741"/>
            <a:chOff x="301750" y="914398"/>
            <a:chExt cx="2474107" cy="4249741"/>
          </a:xfrm>
        </p:grpSpPr>
        <p:grpSp>
          <p:nvGrpSpPr>
            <p:cNvPr id="6" name="Группа 5">
              <a:extLst>
                <a:ext uri="{FF2B5EF4-FFF2-40B4-BE49-F238E27FC236}">
                  <a16:creationId xmlns:a16="http://schemas.microsoft.com/office/drawing/2014/main" id="{769BEB62-C75A-41F3-BB46-A3389167CA08}"/>
                </a:ext>
              </a:extLst>
            </p:cNvPr>
            <p:cNvGrpSpPr/>
            <p:nvPr/>
          </p:nvGrpSpPr>
          <p:grpSpPr>
            <a:xfrm>
              <a:off x="301750" y="914398"/>
              <a:ext cx="2474107" cy="2002973"/>
              <a:chOff x="377950" y="936169"/>
              <a:chExt cx="3083708" cy="2503717"/>
            </a:xfrm>
          </p:grpSpPr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759712FD-EF9E-4F15-9215-2A66590A2C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7950" y="936169"/>
                <a:ext cx="1473492" cy="195943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0" name="Рисунок 9">
                <a:extLst>
                  <a:ext uri="{FF2B5EF4-FFF2-40B4-BE49-F238E27FC236}">
                    <a16:creationId xmlns:a16="http://schemas.microsoft.com/office/drawing/2014/main" id="{789A53A1-487F-4912-A2E8-A36D52B04F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14696" y="1208312"/>
                <a:ext cx="1514641" cy="195943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1" name="Рисунок 10">
                <a:extLst>
                  <a:ext uri="{FF2B5EF4-FFF2-40B4-BE49-F238E27FC236}">
                    <a16:creationId xmlns:a16="http://schemas.microsoft.com/office/drawing/2014/main" id="{F1732C8C-18F9-4DEB-9694-6C0A0C08FC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71396" y="1484162"/>
                <a:ext cx="1490262" cy="1955724"/>
              </a:xfrm>
              <a:prstGeom prst="rect">
                <a:avLst/>
              </a:prstGeom>
            </p:spPr>
          </p:pic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F5D20F1-54B3-4ABE-9F36-CCE9BBE8562B}"/>
                </a:ext>
              </a:extLst>
            </p:cNvPr>
            <p:cNvSpPr txBox="1"/>
            <p:nvPr/>
          </p:nvSpPr>
          <p:spPr>
            <a:xfrm>
              <a:off x="301750" y="2917370"/>
              <a:ext cx="2474107" cy="923330"/>
            </a:xfrm>
            <a:prstGeom prst="rect">
              <a:avLst/>
            </a:prstGeom>
            <a:solidFill>
              <a:srgbClr val="7030A0"/>
            </a:solidFill>
            <a:ln>
              <a:solidFill>
                <a:srgbClr val="7030A0"/>
              </a:solidFill>
            </a:ln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УМК «Сферы»</a:t>
              </a:r>
            </a:p>
            <a:p>
              <a:pPr algn="ctr">
                <a:defRPr/>
              </a:pPr>
              <a:r>
                <a:rPr lang="ru-RU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Авт. </a:t>
              </a:r>
              <a:r>
                <a:rPr lang="ru-RU" dirty="0" err="1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Ю.А.Панебратцев</a:t>
              </a:r>
              <a:r>
                <a:rPr lang="ru-RU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</a:p>
            <a:p>
              <a:pPr algn="ctr">
                <a:defRPr/>
              </a:pPr>
              <a:r>
                <a:rPr lang="ru-RU" dirty="0" err="1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В.В.Белага</a:t>
              </a:r>
              <a:r>
                <a:rPr lang="ru-RU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 и др.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DD41E22-3C9B-4370-95C2-C09006EBC4A2}"/>
                </a:ext>
              </a:extLst>
            </p:cNvPr>
            <p:cNvSpPr txBox="1"/>
            <p:nvPr/>
          </p:nvSpPr>
          <p:spPr>
            <a:xfrm>
              <a:off x="301750" y="3840700"/>
              <a:ext cx="2474107" cy="1323439"/>
            </a:xfrm>
            <a:prstGeom prst="rect">
              <a:avLst/>
            </a:prstGeom>
            <a:noFill/>
            <a:ln>
              <a:solidFill>
                <a:srgbClr val="7030A0"/>
              </a:solidFill>
            </a:ln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sz="2000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В ФПУ</a:t>
              </a:r>
            </a:p>
            <a:p>
              <a:pPr algn="ctr">
                <a:defRPr/>
              </a:pPr>
              <a:r>
                <a:rPr lang="ru-RU" sz="20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1.2.5.1.1.1</a:t>
              </a:r>
            </a:p>
            <a:p>
              <a:pPr algn="ctr">
                <a:defRPr/>
              </a:pPr>
              <a:r>
                <a:rPr lang="ru-RU" sz="20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1.2.5.1.1.2</a:t>
              </a:r>
            </a:p>
            <a:p>
              <a:pPr algn="ctr">
                <a:defRPr/>
              </a:pPr>
              <a:r>
                <a:rPr lang="ru-RU" sz="20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1.2.5.1.1.3</a:t>
              </a:r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4E59E4C4-C5F0-4991-97E8-A8C1878D4315}"/>
              </a:ext>
            </a:extLst>
          </p:cNvPr>
          <p:cNvGrpSpPr/>
          <p:nvPr/>
        </p:nvGrpSpPr>
        <p:grpSpPr>
          <a:xfrm>
            <a:off x="4714929" y="1658316"/>
            <a:ext cx="2374065" cy="4249741"/>
            <a:chOff x="3091543" y="914398"/>
            <a:chExt cx="2374065" cy="4249741"/>
          </a:xfrm>
        </p:grpSpPr>
        <p:grpSp>
          <p:nvGrpSpPr>
            <p:cNvPr id="13" name="Группа 12">
              <a:extLst>
                <a:ext uri="{FF2B5EF4-FFF2-40B4-BE49-F238E27FC236}">
                  <a16:creationId xmlns:a16="http://schemas.microsoft.com/office/drawing/2014/main" id="{87D5AE2B-3711-47DB-B465-8A1C6F983C1B}"/>
                </a:ext>
              </a:extLst>
            </p:cNvPr>
            <p:cNvGrpSpPr/>
            <p:nvPr/>
          </p:nvGrpSpPr>
          <p:grpSpPr>
            <a:xfrm>
              <a:off x="3091543" y="914398"/>
              <a:ext cx="2374064" cy="1997835"/>
              <a:chOff x="3091543" y="914398"/>
              <a:chExt cx="2374064" cy="1997835"/>
            </a:xfrm>
          </p:grpSpPr>
          <p:pic>
            <p:nvPicPr>
              <p:cNvPr id="16" name="Рисунок 15">
                <a:extLst>
                  <a:ext uri="{FF2B5EF4-FFF2-40B4-BE49-F238E27FC236}">
                    <a16:creationId xmlns:a16="http://schemas.microsoft.com/office/drawing/2014/main" id="{1D25823A-AC14-4654-A283-4E0DD298F0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091543" y="914398"/>
                <a:ext cx="1142489" cy="156754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7" name="Рисунок 16">
                <a:extLst>
                  <a:ext uri="{FF2B5EF4-FFF2-40B4-BE49-F238E27FC236}">
                    <a16:creationId xmlns:a16="http://schemas.microsoft.com/office/drawing/2014/main" id="{C3F07155-E10F-47A6-8AB7-084B480FBB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97258" y="1126975"/>
                <a:ext cx="1162634" cy="157268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8" name="Рисунок 17">
                <a:extLst>
                  <a:ext uri="{FF2B5EF4-FFF2-40B4-BE49-F238E27FC236}">
                    <a16:creationId xmlns:a16="http://schemas.microsoft.com/office/drawing/2014/main" id="{43FB044E-B671-4995-AF3F-03C64A7A36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09084" y="1352792"/>
                <a:ext cx="1156523" cy="155944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B4DEAD3-00DC-4F18-BCFA-14F8F4CE4C81}"/>
                </a:ext>
              </a:extLst>
            </p:cNvPr>
            <p:cNvSpPr txBox="1"/>
            <p:nvPr/>
          </p:nvSpPr>
          <p:spPr>
            <a:xfrm>
              <a:off x="3091543" y="2912233"/>
              <a:ext cx="2374064" cy="923330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0070C0"/>
              </a:solidFill>
            </a:ln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УМК «Классический»</a:t>
              </a:r>
            </a:p>
            <a:p>
              <a:pPr algn="ctr">
                <a:defRPr/>
              </a:pPr>
              <a:r>
                <a:rPr lang="ru-RU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Авт. </a:t>
              </a:r>
              <a:r>
                <a:rPr lang="ru-RU" dirty="0" err="1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С.В.Громов</a:t>
              </a:r>
              <a:endParaRPr lang="ru-RU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>
                <a:defRPr/>
              </a:pPr>
              <a:r>
                <a:rPr lang="ru-RU" dirty="0" err="1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Н.А.Родина</a:t>
              </a:r>
              <a:endParaRPr lang="ru-RU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C303163-DD96-495D-AE0B-A0C90BFB050E}"/>
                </a:ext>
              </a:extLst>
            </p:cNvPr>
            <p:cNvSpPr txBox="1"/>
            <p:nvPr/>
          </p:nvSpPr>
          <p:spPr>
            <a:xfrm>
              <a:off x="3091544" y="3840700"/>
              <a:ext cx="2374064" cy="1323439"/>
            </a:xfrm>
            <a:prstGeom prst="rect">
              <a:avLst/>
            </a:prstGeom>
            <a:noFill/>
            <a:ln>
              <a:solidFill>
                <a:srgbClr val="0070C0"/>
              </a:solidFill>
            </a:ln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sz="2000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В ФПУ</a:t>
              </a:r>
            </a:p>
            <a:p>
              <a:pPr algn="ctr">
                <a:defRPr/>
              </a:pPr>
              <a:r>
                <a:rPr lang="ru-RU" sz="20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1.2.5.1.4.1</a:t>
              </a:r>
            </a:p>
            <a:p>
              <a:pPr algn="ctr">
                <a:defRPr/>
              </a:pPr>
              <a:r>
                <a:rPr lang="ru-RU" sz="20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1.2.5.1.4.2</a:t>
              </a:r>
            </a:p>
            <a:p>
              <a:pPr algn="ctr">
                <a:defRPr/>
              </a:pPr>
              <a:r>
                <a:rPr lang="ru-RU" sz="20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1.2.5.1.4.3</a:t>
              </a: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336ADEAE-E36B-4567-B8A3-DC20E16EB2A2}"/>
              </a:ext>
            </a:extLst>
          </p:cNvPr>
          <p:cNvGrpSpPr/>
          <p:nvPr/>
        </p:nvGrpSpPr>
        <p:grpSpPr>
          <a:xfrm>
            <a:off x="8725498" y="1658316"/>
            <a:ext cx="2381611" cy="4269971"/>
            <a:chOff x="5692998" y="914398"/>
            <a:chExt cx="2381611" cy="4269971"/>
          </a:xfrm>
        </p:grpSpPr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id="{B4834E51-E955-4810-A0D4-88406E3330EE}"/>
                </a:ext>
              </a:extLst>
            </p:cNvPr>
            <p:cNvGrpSpPr/>
            <p:nvPr/>
          </p:nvGrpSpPr>
          <p:grpSpPr>
            <a:xfrm>
              <a:off x="5695591" y="914398"/>
              <a:ext cx="2379018" cy="1997834"/>
              <a:chOff x="5695591" y="914398"/>
              <a:chExt cx="2379018" cy="1997834"/>
            </a:xfrm>
          </p:grpSpPr>
          <p:pic>
            <p:nvPicPr>
              <p:cNvPr id="23" name="Рисунок 22">
                <a:extLst>
                  <a:ext uri="{FF2B5EF4-FFF2-40B4-BE49-F238E27FC236}">
                    <a16:creationId xmlns:a16="http://schemas.microsoft.com/office/drawing/2014/main" id="{4E0063EE-FEDA-45EB-B8B1-1F9B949D0B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695591" y="914398"/>
                <a:ext cx="1161784" cy="155944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24" name="Рисунок 23">
                <a:extLst>
                  <a:ext uri="{FF2B5EF4-FFF2-40B4-BE49-F238E27FC236}">
                    <a16:creationId xmlns:a16="http://schemas.microsoft.com/office/drawing/2014/main" id="{7EFACAA2-3A21-44D0-80C8-980195F6F3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32798" y="1127531"/>
                <a:ext cx="1149224" cy="1572125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25" name="Рисунок 24">
                <a:extLst>
                  <a:ext uri="{FF2B5EF4-FFF2-40B4-BE49-F238E27FC236}">
                    <a16:creationId xmlns:a16="http://schemas.microsoft.com/office/drawing/2014/main" id="{EB8E945F-1ACC-41BC-B188-BC3CEDD2BE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89434" y="1352791"/>
                <a:ext cx="1185175" cy="155944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E6B0B8B-F1CE-4039-BE43-2F29DE901BFB}"/>
                </a:ext>
              </a:extLst>
            </p:cNvPr>
            <p:cNvSpPr txBox="1"/>
            <p:nvPr/>
          </p:nvSpPr>
          <p:spPr>
            <a:xfrm>
              <a:off x="5692999" y="2924916"/>
              <a:ext cx="2381609" cy="923330"/>
            </a:xfrm>
            <a:prstGeom prst="rect">
              <a:avLst/>
            </a:prstGeom>
            <a:solidFill>
              <a:srgbClr val="70AD47">
                <a:lumMod val="50000"/>
              </a:srgbClr>
            </a:solidFill>
            <a:ln>
              <a:solidFill>
                <a:srgbClr val="0070C0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</a:rPr>
                <a:t>УМК «Архимед»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Авт. </a:t>
              </a:r>
              <a:r>
                <a: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О.Ф.Кабардин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2463C54-140B-431E-AE0C-1ADE5E36A2B2}"/>
                </a:ext>
              </a:extLst>
            </p:cNvPr>
            <p:cNvSpPr txBox="1"/>
            <p:nvPr/>
          </p:nvSpPr>
          <p:spPr>
            <a:xfrm>
              <a:off x="5692998" y="3860930"/>
              <a:ext cx="2381610" cy="1323439"/>
            </a:xfrm>
            <a:prstGeom prst="rect">
              <a:avLst/>
            </a:prstGeom>
            <a:noFill/>
            <a:ln>
              <a:solidFill>
                <a:srgbClr val="70AD47">
                  <a:lumMod val="50000"/>
                </a:srgbClr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В ФПУ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1.2.5.1.4.1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1.2.5.1.4.2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1.2.5.1.4.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7600230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981473E-A0F5-4C5F-A247-3B523D6F6C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535" y="1323439"/>
            <a:ext cx="9660988" cy="5361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5523585-4302-4F38-8AEA-E18C73380EC6}"/>
              </a:ext>
            </a:extLst>
          </p:cNvPr>
          <p:cNvSpPr txBox="1"/>
          <p:nvPr/>
        </p:nvSpPr>
        <p:spPr>
          <a:xfrm>
            <a:off x="1912034" y="0"/>
            <a:ext cx="77187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БЕСПЛАТНЫЙ ДОСТУП К УЧЕБНИКАМ</a:t>
            </a:r>
          </a:p>
          <a:p>
            <a:pPr algn="ctr"/>
            <a:r>
              <a:rPr lang="ru-RU" sz="4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МЕДИАТЕКА «ПРОСВЕЩЕНИЕ» </a:t>
            </a:r>
          </a:p>
        </p:txBody>
      </p:sp>
    </p:spTree>
    <p:extLst>
      <p:ext uri="{BB962C8B-B14F-4D97-AF65-F5344CB8AC3E}">
        <p14:creationId xmlns:p14="http://schemas.microsoft.com/office/powerpoint/2010/main" val="13753543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307764" y="259009"/>
            <a:ext cx="776152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-4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 группируются задания?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1746055" y="971388"/>
            <a:ext cx="7669407" cy="2665454"/>
            <a:chOff x="1475294" y="1237362"/>
            <a:chExt cx="7669407" cy="2665454"/>
          </a:xfrm>
        </p:grpSpPr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75294" y="1237362"/>
              <a:ext cx="7669407" cy="2665454"/>
            </a:xfrm>
            <a:prstGeom prst="rect">
              <a:avLst/>
            </a:prstGeom>
          </p:spPr>
        </p:pic>
        <p:sp>
          <p:nvSpPr>
            <p:cNvPr id="9" name="Прямоугольник 8"/>
            <p:cNvSpPr/>
            <p:nvPr/>
          </p:nvSpPr>
          <p:spPr>
            <a:xfrm>
              <a:off x="4288971" y="1349829"/>
              <a:ext cx="3015343" cy="20682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4288971" y="1734226"/>
              <a:ext cx="4626429" cy="44892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4288971" y="2313078"/>
              <a:ext cx="3799115" cy="19063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4191000" y="2613773"/>
              <a:ext cx="3015343" cy="20682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4288971" y="2996437"/>
              <a:ext cx="3015343" cy="20682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4288971" y="3343676"/>
              <a:ext cx="4626429" cy="48607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2089533" y="3852566"/>
            <a:ext cx="709662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-4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ие компетенции проверяются?</a:t>
            </a:r>
          </a:p>
        </p:txBody>
      </p:sp>
      <p:sp>
        <p:nvSpPr>
          <p:cNvPr id="16" name="Скругленный прямоугольник 15"/>
          <p:cNvSpPr/>
          <p:nvPr/>
        </p:nvSpPr>
        <p:spPr bwMode="auto">
          <a:xfrm>
            <a:off x="3636759" y="4629267"/>
            <a:ext cx="3888000" cy="118198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Применять е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/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  методы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исследования</a:t>
            </a:r>
          </a:p>
        </p:txBody>
      </p:sp>
      <p:sp>
        <p:nvSpPr>
          <p:cNvPr id="17" name="Скругленный прямоугольник 16"/>
          <p:cNvSpPr/>
          <p:nvPr/>
        </p:nvSpPr>
        <p:spPr bwMode="auto">
          <a:xfrm>
            <a:off x="285708" y="4628415"/>
            <a:ext cx="3238523" cy="118198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Давать научные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Объяснения явлений</a:t>
            </a:r>
          </a:p>
        </p:txBody>
      </p:sp>
      <p:sp>
        <p:nvSpPr>
          <p:cNvPr id="18" name="Скругленный прямоугольник 17"/>
          <p:cNvSpPr/>
          <p:nvPr/>
        </p:nvSpPr>
        <p:spPr bwMode="auto">
          <a:xfrm>
            <a:off x="7633540" y="4628415"/>
            <a:ext cx="4320000" cy="118198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Интерпретировать данные,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делать выводы</a:t>
            </a:r>
          </a:p>
        </p:txBody>
      </p:sp>
    </p:spTree>
    <p:extLst>
      <p:ext uri="{BB962C8B-B14F-4D97-AF65-F5344CB8AC3E}">
        <p14:creationId xmlns:p14="http://schemas.microsoft.com/office/powerpoint/2010/main" val="190792266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5523585-4302-4F38-8AEA-E18C73380EC6}"/>
              </a:ext>
            </a:extLst>
          </p:cNvPr>
          <p:cNvSpPr txBox="1"/>
          <p:nvPr/>
        </p:nvSpPr>
        <p:spPr>
          <a:xfrm>
            <a:off x="1912034" y="0"/>
            <a:ext cx="77187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БЕСПЛАТНЫЙ ДОСТУП К УЧЕБНИКАМ</a:t>
            </a:r>
          </a:p>
          <a:p>
            <a:pPr algn="ctr"/>
            <a:r>
              <a:rPr lang="ru-RU" sz="4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МЕДИАТЕКА «ПРОСВЕЩЕНИЕ»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70DB618-9C24-42EB-9DDC-0CDA8EE00D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4658" y="1323439"/>
            <a:ext cx="10322683" cy="5369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25159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5523585-4302-4F38-8AEA-E18C73380EC6}"/>
              </a:ext>
            </a:extLst>
          </p:cNvPr>
          <p:cNvSpPr txBox="1"/>
          <p:nvPr/>
        </p:nvSpPr>
        <p:spPr>
          <a:xfrm>
            <a:off x="1912034" y="0"/>
            <a:ext cx="77187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БЕСПЛАТНЫЙ ДОСТУП К УЧЕБНИКАМ</a:t>
            </a:r>
          </a:p>
          <a:p>
            <a:pPr algn="ctr"/>
            <a:r>
              <a:rPr lang="ru-RU" sz="4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МЕДИАТЕКА «ПРОСВЕЩЕНИЕ» 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09F3A85-7A19-4FAB-A787-30C5BECBF4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2927" y="1323439"/>
            <a:ext cx="9629409" cy="5452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49155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8C867B1-703F-4A4E-B28F-2C69254951EC}"/>
              </a:ext>
            </a:extLst>
          </p:cNvPr>
          <p:cNvSpPr txBox="1"/>
          <p:nvPr/>
        </p:nvSpPr>
        <p:spPr>
          <a:xfrm>
            <a:off x="98474" y="1014578"/>
            <a:ext cx="82858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 адресной строке вводим адрес ресурса: 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https://cifra.school/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3F9D948-DEBA-401F-AFB0-3B99DAE456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0281" y="1567701"/>
            <a:ext cx="10963275" cy="413385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E5EDB94-B581-4845-819D-1BBBDA1EFD8E}"/>
              </a:ext>
            </a:extLst>
          </p:cNvPr>
          <p:cNvSpPr txBox="1"/>
          <p:nvPr/>
        </p:nvSpPr>
        <p:spPr>
          <a:xfrm>
            <a:off x="2044095" y="65944"/>
            <a:ext cx="7234674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2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РЕСУРС ДЛЯ ДИСТАНЦИОННОГО ОБУЧЕНИЯ </a:t>
            </a:r>
          </a:p>
          <a:p>
            <a:pPr algn="ctr"/>
            <a:r>
              <a:rPr lang="ru-RU" sz="32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«МОЯ ШКОЛА В </a:t>
            </a:r>
            <a:r>
              <a:rPr lang="en-US" sz="32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ONLINE</a:t>
            </a:r>
            <a:r>
              <a:rPr lang="ru-RU" sz="32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»</a:t>
            </a:r>
          </a:p>
        </p:txBody>
      </p:sp>
    </p:spTree>
    <p:extLst>
      <p:ext uri="{BB962C8B-B14F-4D97-AF65-F5344CB8AC3E}">
        <p14:creationId xmlns:p14="http://schemas.microsoft.com/office/powerpoint/2010/main" val="340793669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0F0D76BD-9399-488A-88E6-4CD50340266A}"/>
              </a:ext>
            </a:extLst>
          </p:cNvPr>
          <p:cNvGrpSpPr/>
          <p:nvPr/>
        </p:nvGrpSpPr>
        <p:grpSpPr>
          <a:xfrm>
            <a:off x="10895388" y="221562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F9D6306A-A01D-46CF-9BCD-98CB5AC64B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5BBAE135-E3B0-4880-9932-61EEE3167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FBE841F8-F0B7-4080-9590-F9A25167A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FCC3977A-2964-45FC-B3DB-16ABA945AE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9353CA79-A69B-434F-8F52-B97DDAF488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6130F6E7-7332-4B36-9A06-231302D93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12CFA201-C2FB-482D-97C6-D1364DA240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69B68036-B804-4010-AD98-FF190355A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CA1FCC1E-C2C8-475A-A743-5CCC79E4B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23621DE0-E000-45E1-A4A9-4A6355E32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6">
              <a:extLst>
                <a:ext uri="{FF2B5EF4-FFF2-40B4-BE49-F238E27FC236}">
                  <a16:creationId xmlns:a16="http://schemas.microsoft.com/office/drawing/2014/main" id="{53AF3FE2-17F5-46C9-A1EA-29F4686BB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8C835BA9-C645-47FC-816E-4A0EF5B81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00444D6F-8F25-4382-8737-B845A7F57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32E6D41D-D4AD-42EA-BB6B-E9CF77B752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7A096786-295C-415F-9CE3-1AFF32F65638}"/>
              </a:ext>
            </a:extLst>
          </p:cNvPr>
          <p:cNvSpPr txBox="1"/>
          <p:nvPr/>
        </p:nvSpPr>
        <p:spPr>
          <a:xfrm>
            <a:off x="98474" y="64040"/>
            <a:ext cx="412965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НАВИГАЦИЯ ПО РЕСУРСУ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8D4B693-F666-4039-BBE6-3EA9730837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2219" y="769354"/>
            <a:ext cx="3345912" cy="9806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2E5A3D5-C044-4A80-B990-E10941B4C6DE}"/>
              </a:ext>
            </a:extLst>
          </p:cNvPr>
          <p:cNvSpPr txBox="1"/>
          <p:nvPr/>
        </p:nvSpPr>
        <p:spPr>
          <a:xfrm>
            <a:off x="4473526" y="1028870"/>
            <a:ext cx="56340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Нажимаем на кнопку «Выбрать предмет»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94952D4B-34FE-410B-93D0-4D8D1BCF61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8569" y="2618261"/>
            <a:ext cx="9782629" cy="395858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7524D8E-4368-4DA1-B1A1-E8C9CF329792}"/>
              </a:ext>
            </a:extLst>
          </p:cNvPr>
          <p:cNvSpPr txBox="1"/>
          <p:nvPr/>
        </p:nvSpPr>
        <p:spPr>
          <a:xfrm>
            <a:off x="3334699" y="2156596"/>
            <a:ext cx="57903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истема переводит на перечень предметов</a:t>
            </a:r>
          </a:p>
        </p:txBody>
      </p:sp>
    </p:spTree>
    <p:extLst>
      <p:ext uri="{BB962C8B-B14F-4D97-AF65-F5344CB8AC3E}">
        <p14:creationId xmlns:p14="http://schemas.microsoft.com/office/powerpoint/2010/main" val="87720227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0F0D76BD-9399-488A-88E6-4CD50340266A}"/>
              </a:ext>
            </a:extLst>
          </p:cNvPr>
          <p:cNvGrpSpPr/>
          <p:nvPr/>
        </p:nvGrpSpPr>
        <p:grpSpPr>
          <a:xfrm>
            <a:off x="10895388" y="221562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F9D6306A-A01D-46CF-9BCD-98CB5AC64B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5BBAE135-E3B0-4880-9932-61EEE3167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FBE841F8-F0B7-4080-9590-F9A25167A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FCC3977A-2964-45FC-B3DB-16ABA945AE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9353CA79-A69B-434F-8F52-B97DDAF488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6130F6E7-7332-4B36-9A06-231302D93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12CFA201-C2FB-482D-97C6-D1364DA240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69B68036-B804-4010-AD98-FF190355A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CA1FCC1E-C2C8-475A-A743-5CCC79E4B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23621DE0-E000-45E1-A4A9-4A6355E32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6">
              <a:extLst>
                <a:ext uri="{FF2B5EF4-FFF2-40B4-BE49-F238E27FC236}">
                  <a16:creationId xmlns:a16="http://schemas.microsoft.com/office/drawing/2014/main" id="{53AF3FE2-17F5-46C9-A1EA-29F4686BB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8C835BA9-C645-47FC-816E-4A0EF5B81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00444D6F-8F25-4382-8737-B845A7F57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32E6D41D-D4AD-42EA-BB6B-E9CF77B752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7A096786-295C-415F-9CE3-1AFF32F65638}"/>
              </a:ext>
            </a:extLst>
          </p:cNvPr>
          <p:cNvSpPr txBox="1"/>
          <p:nvPr/>
        </p:nvSpPr>
        <p:spPr>
          <a:xfrm>
            <a:off x="98474" y="64040"/>
            <a:ext cx="412965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НАВИГАЦИЯ ПО РЕСУРСУ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E5A3D5-C044-4A80-B990-E10941B4C6DE}"/>
              </a:ext>
            </a:extLst>
          </p:cNvPr>
          <p:cNvSpPr txBox="1"/>
          <p:nvPr/>
        </p:nvSpPr>
        <p:spPr>
          <a:xfrm>
            <a:off x="742286" y="707971"/>
            <a:ext cx="102896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ля того чтобы выбрать предмет, нажимаем на иконку с названием предмет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4FBCB05-14F1-42A1-8533-50DD8F6E9E99}"/>
              </a:ext>
            </a:extLst>
          </p:cNvPr>
          <p:cNvSpPr txBox="1"/>
          <p:nvPr/>
        </p:nvSpPr>
        <p:spPr>
          <a:xfrm>
            <a:off x="1052915" y="2964436"/>
            <a:ext cx="966835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истема переносит на страницу предмета и предлагает выбрать класс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9D28C54-7AA1-4AFD-8BBC-1E95BC87438C}"/>
              </a:ext>
            </a:extLst>
          </p:cNvPr>
          <p:cNvSpPr txBox="1"/>
          <p:nvPr/>
        </p:nvSpPr>
        <p:spPr>
          <a:xfrm>
            <a:off x="560827" y="5706856"/>
            <a:ext cx="112935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Если вы ошиблись с выбором предмета, можно нажать на синюю стрелочку «Назад к выбору предмета» в левом верхнем углу страницы.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B7E09E1-8FCA-4ADE-8CA3-9910255723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2553" y="1129904"/>
            <a:ext cx="3527053" cy="1859416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465BDC93-55E3-497D-B221-1E71AE8B91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05691" y="3514411"/>
            <a:ext cx="7162800" cy="219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70967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0F0D76BD-9399-488A-88E6-4CD50340266A}"/>
              </a:ext>
            </a:extLst>
          </p:cNvPr>
          <p:cNvGrpSpPr/>
          <p:nvPr/>
        </p:nvGrpSpPr>
        <p:grpSpPr>
          <a:xfrm>
            <a:off x="10895388" y="221562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F9D6306A-A01D-46CF-9BCD-98CB5AC64B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5BBAE135-E3B0-4880-9932-61EEE3167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FBE841F8-F0B7-4080-9590-F9A25167A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FCC3977A-2964-45FC-B3DB-16ABA945AE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9353CA79-A69B-434F-8F52-B97DDAF488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6130F6E7-7332-4B36-9A06-231302D93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12CFA201-C2FB-482D-97C6-D1364DA240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69B68036-B804-4010-AD98-FF190355A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CA1FCC1E-C2C8-475A-A743-5CCC79E4B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23621DE0-E000-45E1-A4A9-4A6355E32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6">
              <a:extLst>
                <a:ext uri="{FF2B5EF4-FFF2-40B4-BE49-F238E27FC236}">
                  <a16:creationId xmlns:a16="http://schemas.microsoft.com/office/drawing/2014/main" id="{53AF3FE2-17F5-46C9-A1EA-29F4686BB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8C835BA9-C645-47FC-816E-4A0EF5B81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00444D6F-8F25-4382-8737-B845A7F57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32E6D41D-D4AD-42EA-BB6B-E9CF77B752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7A096786-295C-415F-9CE3-1AFF32F65638}"/>
              </a:ext>
            </a:extLst>
          </p:cNvPr>
          <p:cNvSpPr txBox="1"/>
          <p:nvPr/>
        </p:nvSpPr>
        <p:spPr>
          <a:xfrm>
            <a:off x="98474" y="64040"/>
            <a:ext cx="412965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НАВИГАЦИЯ ПО РЕСУРСУ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E5A3D5-C044-4A80-B990-E10941B4C6DE}"/>
              </a:ext>
            </a:extLst>
          </p:cNvPr>
          <p:cNvSpPr txBox="1"/>
          <p:nvPr/>
        </p:nvSpPr>
        <p:spPr>
          <a:xfrm>
            <a:off x="3859066" y="648815"/>
            <a:ext cx="38926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Нажимаем на нужный класс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EEFA5FD-6E5D-4485-B563-8982093655F4}"/>
              </a:ext>
            </a:extLst>
          </p:cNvPr>
          <p:cNvSpPr txBox="1"/>
          <p:nvPr/>
        </p:nvSpPr>
        <p:spPr>
          <a:xfrm>
            <a:off x="2054445" y="1997139"/>
            <a:ext cx="808311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падаем на страницу с выбором конспекта по нужной теме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BF48745-8F36-458A-9C06-F1E8830788A4}"/>
              </a:ext>
            </a:extLst>
          </p:cNvPr>
          <p:cNvSpPr txBox="1"/>
          <p:nvPr/>
        </p:nvSpPr>
        <p:spPr>
          <a:xfrm>
            <a:off x="2516077" y="5455498"/>
            <a:ext cx="715984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братите внимание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Конспекты уроков пополняются КАЖДУЮ неделю! </a:t>
            </a: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191321F0-623A-4A0E-BA7B-36CF67CFE2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8561" y="1041072"/>
            <a:ext cx="3180445" cy="915128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3F818BBC-6B0B-4153-8768-1D36598A63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6942" y="2664192"/>
            <a:ext cx="11397557" cy="2453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12112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0F0D76BD-9399-488A-88E6-4CD50340266A}"/>
              </a:ext>
            </a:extLst>
          </p:cNvPr>
          <p:cNvGrpSpPr/>
          <p:nvPr/>
        </p:nvGrpSpPr>
        <p:grpSpPr>
          <a:xfrm>
            <a:off x="10895388" y="221562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F9D6306A-A01D-46CF-9BCD-98CB5AC64B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5BBAE135-E3B0-4880-9932-61EEE3167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FBE841F8-F0B7-4080-9590-F9A25167A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FCC3977A-2964-45FC-B3DB-16ABA945AE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9353CA79-A69B-434F-8F52-B97DDAF488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6130F6E7-7332-4B36-9A06-231302D93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12CFA201-C2FB-482D-97C6-D1364DA240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69B68036-B804-4010-AD98-FF190355A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CA1FCC1E-C2C8-475A-A743-5CCC79E4B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23621DE0-E000-45E1-A4A9-4A6355E32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6">
              <a:extLst>
                <a:ext uri="{FF2B5EF4-FFF2-40B4-BE49-F238E27FC236}">
                  <a16:creationId xmlns:a16="http://schemas.microsoft.com/office/drawing/2014/main" id="{53AF3FE2-17F5-46C9-A1EA-29F4686BB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8C835BA9-C645-47FC-816E-4A0EF5B81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00444D6F-8F25-4382-8737-B845A7F57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32E6D41D-D4AD-42EA-BB6B-E9CF77B752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75C1AB8C-2F6C-4BB2-BB50-08F1E74C760A}"/>
              </a:ext>
            </a:extLst>
          </p:cNvPr>
          <p:cNvSpPr txBox="1"/>
          <p:nvPr/>
        </p:nvSpPr>
        <p:spPr>
          <a:xfrm>
            <a:off x="117208" y="0"/>
            <a:ext cx="406233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Times New Roman" panose="02020603050405020304" pitchFamily="18" charset="0"/>
              </a:rPr>
              <a:t>РЕГИСТРАЦИЯ НА САЙТЕ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3C32152D-E5E9-4FF3-8537-CF3FDFDCDD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584" y="766914"/>
            <a:ext cx="6615665" cy="24945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25ADB0C-9B8D-4892-AF97-31A10C2ED821}"/>
              </a:ext>
            </a:extLst>
          </p:cNvPr>
          <p:cNvSpPr txBox="1"/>
          <p:nvPr/>
        </p:nvSpPr>
        <p:spPr>
          <a:xfrm>
            <a:off x="3653977" y="3365445"/>
            <a:ext cx="540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егистрация на ресурсе не требуется!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2F6076-E60D-4306-8971-877B45AC445F}"/>
              </a:ext>
            </a:extLst>
          </p:cNvPr>
          <p:cNvSpPr txBox="1"/>
          <p:nvPr/>
        </p:nvSpPr>
        <p:spPr>
          <a:xfrm>
            <a:off x="493253" y="3815199"/>
            <a:ext cx="1125645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ы можете подписаться на рассылку с новостями ресурса (добавление уроков, видеоуроки и т.д.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ля этого нужно пролистать страницу ресурса вниз, ввести свой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-mail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в строку и нажать кнопку «Подписаться».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57BDB365-D5EE-4180-946D-3F60CFB5CF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0588" y="5482765"/>
            <a:ext cx="10310785" cy="10859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9050424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418114" y="0"/>
            <a:ext cx="524214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ВЕБИНАРЫ ИЗДАТЕЛЬСТВА</a:t>
            </a:r>
          </a:p>
          <a:p>
            <a:pPr algn="ctr"/>
            <a:r>
              <a:rPr lang="ru-RU" sz="3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апрель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4187" y="1154162"/>
            <a:ext cx="11938846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0.04.2020 в 15:30 – «Решаем задания ОГЭ вместе. Задания на интерпретацию графиков»</a:t>
            </a:r>
          </a:p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3.04.2020 в 15:30 – «Решаем задания ОГЭ вместе! Магнитное поле»</a:t>
            </a:r>
          </a:p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4.04.2020 в 15:30 – «Решаем задания ОГЭ вместе! Магнитное поле» </a:t>
            </a:r>
          </a:p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7.04.2020 в 9:30 – «Решаем задания ОГЭ вместе! Световые явления»</a:t>
            </a:r>
          </a:p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9.04.2020 в 9:30 – «Решаем задания ОГЭ вместе! Атомная физика»</a:t>
            </a:r>
          </a:p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0.04.2020 в 11:30 – «Решаем задания ОГЭ вместе! Задания второй части ОГЭ»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479795" y="3429000"/>
            <a:ext cx="91187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Больше информации на: </a:t>
            </a:r>
            <a:r>
              <a:rPr lang="en-US" sz="28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https://www.prosv.ru/webinars</a:t>
            </a:r>
            <a:r>
              <a:rPr lang="ru-RU" sz="28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979966" y="5096987"/>
            <a:ext cx="41184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ЕСЛИ ВАМ НУЖНА ПОМОЩЬ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673607" y="5620207"/>
            <a:ext cx="88158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ас интересует какая-либо проблемная тема? Мы готовы помочь!</a:t>
            </a:r>
          </a:p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едложите тему </a:t>
            </a:r>
            <a:r>
              <a:rPr lang="ru-RU" sz="2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ебинара</a:t>
            </a:r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Olitvinov@prosv.ru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806FC7-E417-4D37-A941-463E5620A438}"/>
              </a:ext>
            </a:extLst>
          </p:cNvPr>
          <p:cNvSpPr txBox="1"/>
          <p:nvPr/>
        </p:nvSpPr>
        <p:spPr>
          <a:xfrm>
            <a:off x="4684541" y="3952220"/>
            <a:ext cx="231024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ДЛЯ УЧИТЕЛЕЙ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3402BE9-B743-487D-BCF6-2DCBE41F58E5}"/>
              </a:ext>
            </a:extLst>
          </p:cNvPr>
          <p:cNvSpPr/>
          <p:nvPr/>
        </p:nvSpPr>
        <p:spPr>
          <a:xfrm>
            <a:off x="84186" y="4439418"/>
            <a:ext cx="108323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04.2020 в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30 – «Лабораторный практикум в дистанционном формате»</a:t>
            </a:r>
          </a:p>
        </p:txBody>
      </p:sp>
    </p:spTree>
    <p:extLst>
      <p:ext uri="{BB962C8B-B14F-4D97-AF65-F5344CB8AC3E}">
        <p14:creationId xmlns:p14="http://schemas.microsoft.com/office/powerpoint/2010/main" val="33610704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9075" y="0"/>
            <a:ext cx="542925" cy="573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0" y="996470"/>
            <a:ext cx="5869079" cy="19774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ГК «ПРОСВЕЩЕНИЕ» </a:t>
            </a:r>
            <a:b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АДРЕС: 127473, Москва, ул. </a:t>
            </a: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Краснопролетарская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д.16, стр.3, подъезд 8, бизнес-центр «Новослободский»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ЕЛЕФОН: (495) 789-30-40</a:t>
            </a:r>
            <a:b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ФАКС: (495) 789-30-41</a:t>
            </a:r>
            <a:b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-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AIL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: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hlinkClick r:id="rId3"/>
              </a:rPr>
              <a:t>prosv@prosv.r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АЙТ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hlinkClick r:id="rId4"/>
              </a:rPr>
              <a:t>http://www.prosv.ru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          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hlinkClick r:id="rId5"/>
              </a:rPr>
              <a:t>http://www.spheres.ru/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870108" y="2973934"/>
            <a:ext cx="5292082" cy="1200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ПАСИБО  ЗА ВНИМАНИЕ!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164286" y="5202253"/>
            <a:ext cx="3885569" cy="11772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ЕЛЕФОН: 8(495)789-30-40 доб.41-03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What’s up, Telegram: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8 (963)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976-10-01  </a:t>
            </a:r>
            <a:b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-MAIL  OLitvinov@prosv.ru   </a:t>
            </a:r>
          </a:p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0" y="1019"/>
            <a:ext cx="12192000" cy="957291"/>
          </a:xfrm>
          <a:prstGeom prst="rect">
            <a:avLst/>
          </a:prstGeom>
          <a:pattFill prst="dkUpDiag">
            <a:fgClr>
              <a:srgbClr val="DBE3E5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089" tIns="30045" rIns="60089" bIns="30045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2" descr="C:\Users\MDorkina\Desktop\prosv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5956" y="9262"/>
            <a:ext cx="1080088" cy="968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Группа 8"/>
          <p:cNvGrpSpPr/>
          <p:nvPr/>
        </p:nvGrpSpPr>
        <p:grpSpPr>
          <a:xfrm>
            <a:off x="0" y="6341339"/>
            <a:ext cx="12192000" cy="484465"/>
            <a:chOff x="0" y="6341339"/>
            <a:chExt cx="9144000" cy="484465"/>
          </a:xfrm>
        </p:grpSpPr>
        <p:pic>
          <p:nvPicPr>
            <p:cNvPr id="10" name="image1.png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0" y="6341339"/>
              <a:ext cx="9144000" cy="484465"/>
            </a:xfrm>
            <a:prstGeom prst="rect">
              <a:avLst/>
            </a:prstGeom>
            <a:solidFill>
              <a:schemeClr val="bg1"/>
            </a:solidFill>
            <a:ln w="12700">
              <a:miter lim="400000"/>
            </a:ln>
          </p:spPr>
        </p:pic>
        <p:pic>
          <p:nvPicPr>
            <p:cNvPr id="11" name="image2.png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8330239" y="6417658"/>
              <a:ext cx="508962" cy="408146"/>
            </a:xfrm>
            <a:prstGeom prst="rect">
              <a:avLst/>
            </a:prstGeom>
            <a:ln w="12700">
              <a:miter lim="400000"/>
            </a:ln>
          </p:spPr>
        </p:pic>
      </p:grpSp>
    </p:spTree>
    <p:extLst>
      <p:ext uri="{BB962C8B-B14F-4D97-AF65-F5344CB8AC3E}">
        <p14:creationId xmlns:p14="http://schemas.microsoft.com/office/powerpoint/2010/main" val="38791727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1526638" y="971388"/>
            <a:ext cx="7669407" cy="2665454"/>
            <a:chOff x="1475294" y="1237362"/>
            <a:chExt cx="7669407" cy="2665454"/>
          </a:xfrm>
        </p:grpSpPr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75294" y="1237362"/>
              <a:ext cx="7669407" cy="2665454"/>
            </a:xfrm>
            <a:prstGeom prst="rect">
              <a:avLst/>
            </a:prstGeom>
          </p:spPr>
        </p:pic>
        <p:sp>
          <p:nvSpPr>
            <p:cNvPr id="9" name="Прямоугольник 8"/>
            <p:cNvSpPr/>
            <p:nvPr/>
          </p:nvSpPr>
          <p:spPr>
            <a:xfrm>
              <a:off x="4288971" y="1349829"/>
              <a:ext cx="3015343" cy="20682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4288971" y="1734226"/>
              <a:ext cx="4626429" cy="44892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4288971" y="2313078"/>
              <a:ext cx="3799115" cy="19063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4191000" y="2613773"/>
              <a:ext cx="3015343" cy="20682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4288971" y="2996437"/>
              <a:ext cx="3015343" cy="20682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4288971" y="3343676"/>
              <a:ext cx="4626429" cy="48607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2056497" y="3876468"/>
            <a:ext cx="72843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-4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ие типы заданий предлагаются?</a:t>
            </a:r>
          </a:p>
        </p:txBody>
      </p:sp>
      <p:sp>
        <p:nvSpPr>
          <p:cNvPr id="16" name="Скругленный прямоугольник 15"/>
          <p:cNvSpPr/>
          <p:nvPr/>
        </p:nvSpPr>
        <p:spPr bwMode="auto">
          <a:xfrm>
            <a:off x="1526638" y="4598199"/>
            <a:ext cx="3238523" cy="93391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Знание содержания</a:t>
            </a:r>
          </a:p>
        </p:txBody>
      </p:sp>
      <p:sp>
        <p:nvSpPr>
          <p:cNvPr id="17" name="Скругленный прямоугольник 16"/>
          <p:cNvSpPr/>
          <p:nvPr/>
        </p:nvSpPr>
        <p:spPr bwMode="auto">
          <a:xfrm>
            <a:off x="4876045" y="4598199"/>
            <a:ext cx="4320000" cy="93391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Знание процедур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817907" y="249067"/>
            <a:ext cx="776152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-4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 группируются задания?</a:t>
            </a:r>
          </a:p>
        </p:txBody>
      </p:sp>
    </p:spTree>
    <p:extLst>
      <p:ext uri="{BB962C8B-B14F-4D97-AF65-F5344CB8AC3E}">
        <p14:creationId xmlns:p14="http://schemas.microsoft.com/office/powerpoint/2010/main" val="35384566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1719169" y="980861"/>
            <a:ext cx="7669407" cy="2665454"/>
            <a:chOff x="1475294" y="1237362"/>
            <a:chExt cx="7669407" cy="2665454"/>
          </a:xfrm>
        </p:grpSpPr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75294" y="1237362"/>
              <a:ext cx="7669407" cy="2665454"/>
            </a:xfrm>
            <a:prstGeom prst="rect">
              <a:avLst/>
            </a:prstGeom>
          </p:spPr>
        </p:pic>
        <p:sp>
          <p:nvSpPr>
            <p:cNvPr id="9" name="Прямоугольник 8"/>
            <p:cNvSpPr/>
            <p:nvPr/>
          </p:nvSpPr>
          <p:spPr>
            <a:xfrm>
              <a:off x="4288971" y="1349829"/>
              <a:ext cx="3015343" cy="20682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4288971" y="1734226"/>
              <a:ext cx="4626429" cy="44892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4288971" y="2313078"/>
              <a:ext cx="3799115" cy="19063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4191000" y="2613773"/>
              <a:ext cx="3015343" cy="20682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4288971" y="2996437"/>
              <a:ext cx="3015343" cy="20682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4288971" y="3343676"/>
              <a:ext cx="4626429" cy="48607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1911699" y="3673534"/>
            <a:ext cx="72843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-4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ие контексты задаются?</a:t>
            </a:r>
          </a:p>
        </p:txBody>
      </p:sp>
      <p:sp>
        <p:nvSpPr>
          <p:cNvPr id="16" name="Скругленный прямоугольник 15"/>
          <p:cNvSpPr/>
          <p:nvPr/>
        </p:nvSpPr>
        <p:spPr bwMode="auto">
          <a:xfrm>
            <a:off x="634270" y="4301135"/>
            <a:ext cx="4664835" cy="2234867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Здоровье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Ресурсы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Окружающая среда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Опасности и риски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Связь науки и технологии</a:t>
            </a:r>
          </a:p>
        </p:txBody>
      </p:sp>
      <p:sp>
        <p:nvSpPr>
          <p:cNvPr id="17" name="Скругленный прямоугольник 16"/>
          <p:cNvSpPr/>
          <p:nvPr/>
        </p:nvSpPr>
        <p:spPr bwMode="auto">
          <a:xfrm>
            <a:off x="6445331" y="4301134"/>
            <a:ext cx="4664835" cy="2234867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Личностный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ациональный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Глобальный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817907" y="265919"/>
            <a:ext cx="776152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-4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 группируются задания?</a:t>
            </a:r>
          </a:p>
        </p:txBody>
      </p:sp>
    </p:spTree>
    <p:extLst>
      <p:ext uri="{BB962C8B-B14F-4D97-AF65-F5344CB8AC3E}">
        <p14:creationId xmlns:p14="http://schemas.microsoft.com/office/powerpoint/2010/main" val="38966230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1905001" y="971388"/>
            <a:ext cx="7669407" cy="2665454"/>
            <a:chOff x="1475294" y="1237362"/>
            <a:chExt cx="7669407" cy="2665454"/>
          </a:xfrm>
        </p:grpSpPr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75294" y="1237362"/>
              <a:ext cx="7669407" cy="2665454"/>
            </a:xfrm>
            <a:prstGeom prst="rect">
              <a:avLst/>
            </a:prstGeom>
          </p:spPr>
        </p:pic>
        <p:sp>
          <p:nvSpPr>
            <p:cNvPr id="9" name="Прямоугольник 8"/>
            <p:cNvSpPr/>
            <p:nvPr/>
          </p:nvSpPr>
          <p:spPr>
            <a:xfrm>
              <a:off x="4288971" y="1349829"/>
              <a:ext cx="3015343" cy="20682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4288971" y="1734226"/>
              <a:ext cx="4626429" cy="44892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4288971" y="2313078"/>
              <a:ext cx="3799115" cy="19063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4191000" y="2613773"/>
              <a:ext cx="3015343" cy="20682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4288971" y="2996437"/>
              <a:ext cx="3015343" cy="20682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4288971" y="3343676"/>
              <a:ext cx="4626429" cy="48607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1317240" y="3650547"/>
            <a:ext cx="909034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-4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ой когнитивный уровень представлен?</a:t>
            </a:r>
          </a:p>
        </p:txBody>
      </p:sp>
      <p:sp>
        <p:nvSpPr>
          <p:cNvPr id="16" name="Скругленный прямоугольник 15"/>
          <p:cNvSpPr/>
          <p:nvPr/>
        </p:nvSpPr>
        <p:spPr bwMode="auto">
          <a:xfrm>
            <a:off x="4152841" y="4204545"/>
            <a:ext cx="3419142" cy="70072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Средний</a:t>
            </a:r>
          </a:p>
        </p:txBody>
      </p:sp>
      <p:sp>
        <p:nvSpPr>
          <p:cNvPr id="17" name="Скругленный прямоугольник 16"/>
          <p:cNvSpPr/>
          <p:nvPr/>
        </p:nvSpPr>
        <p:spPr bwMode="auto">
          <a:xfrm>
            <a:off x="432932" y="4222328"/>
            <a:ext cx="3238523" cy="70072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изкий</a:t>
            </a:r>
          </a:p>
        </p:txBody>
      </p:sp>
      <p:sp>
        <p:nvSpPr>
          <p:cNvPr id="18" name="Скругленный прямоугольник 17"/>
          <p:cNvSpPr/>
          <p:nvPr/>
        </p:nvSpPr>
        <p:spPr bwMode="auto">
          <a:xfrm>
            <a:off x="8053369" y="4222328"/>
            <a:ext cx="3440908" cy="70072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Высокий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83205" y="4920877"/>
            <a:ext cx="909034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-4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ой тип вопроса представлен?</a:t>
            </a:r>
          </a:p>
        </p:txBody>
      </p:sp>
      <p:sp>
        <p:nvSpPr>
          <p:cNvPr id="20" name="Скругленный прямоугольник 19"/>
          <p:cNvSpPr/>
          <p:nvPr/>
        </p:nvSpPr>
        <p:spPr bwMode="auto">
          <a:xfrm>
            <a:off x="4216908" y="5519141"/>
            <a:ext cx="3419142" cy="70072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Частично открытый</a:t>
            </a:r>
          </a:p>
        </p:txBody>
      </p:sp>
      <p:sp>
        <p:nvSpPr>
          <p:cNvPr id="21" name="Скругленный прямоугольник 20"/>
          <p:cNvSpPr/>
          <p:nvPr/>
        </p:nvSpPr>
        <p:spPr bwMode="auto">
          <a:xfrm>
            <a:off x="1574222" y="5519141"/>
            <a:ext cx="2097233" cy="70072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Открытый</a:t>
            </a:r>
          </a:p>
        </p:txBody>
      </p:sp>
      <p:sp>
        <p:nvSpPr>
          <p:cNvPr id="22" name="Скругленный прямоугольник 21"/>
          <p:cNvSpPr/>
          <p:nvPr/>
        </p:nvSpPr>
        <p:spPr bwMode="auto">
          <a:xfrm>
            <a:off x="8063349" y="5519141"/>
            <a:ext cx="2344236" cy="70072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Закрытый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117778" y="220549"/>
            <a:ext cx="776152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-4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 группируются задания?</a:t>
            </a:r>
          </a:p>
        </p:txBody>
      </p:sp>
    </p:spTree>
    <p:extLst>
      <p:ext uri="{BB962C8B-B14F-4D97-AF65-F5344CB8AC3E}">
        <p14:creationId xmlns:p14="http://schemas.microsoft.com/office/powerpoint/2010/main" val="39511040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9" descr="C:\Users\EZubkova\Desktop\функциональная грамотность2\prosv_logo@4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2131" y="0"/>
            <a:ext cx="2139869" cy="97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3" y="6647294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АО «Издательство «Просвещение» 2020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29184" y="193306"/>
            <a:ext cx="992592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ерия «Функциональная грамотность. Тренажёры»</a:t>
            </a:r>
          </a:p>
        </p:txBody>
      </p:sp>
      <p:pic>
        <p:nvPicPr>
          <p:cNvPr id="6" name="Picture 59">
            <a:hlinkClick r:id="rId3"/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362" t="16566" r="2049" b="9345"/>
          <a:stretch/>
        </p:blipFill>
        <p:spPr bwMode="auto">
          <a:xfrm>
            <a:off x="181142" y="971387"/>
            <a:ext cx="2964393" cy="39405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0">
            <a:hlinkClick r:id="rId5"/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255" t="16099" r="1764" b="7965"/>
          <a:stretch/>
        </p:blipFill>
        <p:spPr bwMode="auto">
          <a:xfrm>
            <a:off x="2899208" y="1666331"/>
            <a:ext cx="2982514" cy="39405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Содержимое 17"/>
          <p:cNvSpPr txBox="1">
            <a:spLocks/>
          </p:cNvSpPr>
          <p:nvPr/>
        </p:nvSpPr>
        <p:spPr>
          <a:xfrm>
            <a:off x="6096686" y="1089078"/>
            <a:ext cx="5863666" cy="5214185"/>
          </a:xfrm>
          <a:prstGeom prst="rect">
            <a:avLst/>
          </a:prstGeom>
        </p:spPr>
        <p:txBody>
          <a:bodyPr vert="horz" lIns="42844" tIns="42844" rIns="42844" bIns="42844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одержат разнообразные практико-ориентированные задания, позволяющие школьникам подготовиться к участию в международных исследованиях качества образования. Приведены примеры их решений и ответы. 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Могут использоваться учителями математики, русского языка, обществознания, биологии, физики и химии на уроках, во внеурочной деятельности, в системе дополнительного образования, семейного образования.</a:t>
            </a:r>
          </a:p>
        </p:txBody>
      </p:sp>
    </p:spTree>
    <p:extLst>
      <p:ext uri="{BB962C8B-B14F-4D97-AF65-F5344CB8AC3E}">
        <p14:creationId xmlns:p14="http://schemas.microsoft.com/office/powerpoint/2010/main" val="37030337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1ca21ed8-a3df-4193-b700-fd65bdc63fa0">US75DVFUYAPE-424-1734</_dlc_DocId>
    <_dlc_DocIdUrl xmlns="1ca21ed8-a3df-4193-b700-fd65bdc63fa0">
      <Url>http://www.eduportal44.ru/Makariev_EDU/Nejitino/OF/_layouts/15/DocIdRedir.aspx?ID=US75DVFUYAPE-424-1734</Url>
      <Description>US75DVFUYAPE-424-1734</Description>
    </_dlc_DocId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1F7D17AAC9B84D9B10D0E7E91C15BE" ma:contentTypeVersion="2" ma:contentTypeDescription="Создание документа." ma:contentTypeScope="" ma:versionID="2ac0aaf2266523265383f9f0baf518bd">
  <xsd:schema xmlns:xsd="http://www.w3.org/2001/XMLSchema" xmlns:xs="http://www.w3.org/2001/XMLSchema" xmlns:p="http://schemas.microsoft.com/office/2006/metadata/properties" xmlns:ns2="1ca21ed8-a3df-4193-b700-fd65bdc63fa0" targetNamespace="http://schemas.microsoft.com/office/2006/metadata/properties" ma:root="true" ma:fieldsID="37d2bbe8966a65f4271685c3f2b8cf62" ns2:_="">
    <xsd:import namespace="1ca21ed8-a3df-4193-b700-fd65bdc63fa0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a21ed8-a3df-4193-b700-fd65bdc63fa0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/>
</file>

<file path=customXml/itemProps1.xml><?xml version="1.0" encoding="utf-8"?>
<ds:datastoreItem xmlns:ds="http://schemas.openxmlformats.org/officeDocument/2006/customXml" ds:itemID="{B6401968-39EB-4E65-9605-1E787F02F8D0}"/>
</file>

<file path=customXml/itemProps2.xml><?xml version="1.0" encoding="utf-8"?>
<ds:datastoreItem xmlns:ds="http://schemas.openxmlformats.org/officeDocument/2006/customXml" ds:itemID="{05AF7889-6AEF-4DC4-9AE1-9EE8D4CB6535}"/>
</file>

<file path=customXml/itemProps3.xml><?xml version="1.0" encoding="utf-8"?>
<ds:datastoreItem xmlns:ds="http://schemas.openxmlformats.org/officeDocument/2006/customXml" ds:itemID="{B90201F4-6617-4334-BA98-0982352543DB}"/>
</file>

<file path=customXml/itemProps4.xml><?xml version="1.0" encoding="utf-8"?>
<ds:datastoreItem xmlns:ds="http://schemas.openxmlformats.org/officeDocument/2006/customXml" ds:itemID="{78C63D5B-314A-4AFE-8F24-421A68C19FE4}"/>
</file>

<file path=docProps/app.xml><?xml version="1.0" encoding="utf-8"?>
<Properties xmlns="http://schemas.openxmlformats.org/officeDocument/2006/extended-properties" xmlns:vt="http://schemas.openxmlformats.org/officeDocument/2006/docPropsVTypes">
  <TotalTime>3531</TotalTime>
  <Words>1349</Words>
  <Application>Microsoft Office PowerPoint</Application>
  <PresentationFormat>Широкоэкранный</PresentationFormat>
  <Paragraphs>232</Paragraphs>
  <Slides>58</Slides>
  <Notes>1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8</vt:i4>
      </vt:variant>
    </vt:vector>
  </HeadingPairs>
  <TitlesOfParts>
    <vt:vector size="67" baseType="lpstr">
      <vt:lpstr>Arial</vt:lpstr>
      <vt:lpstr>Calibri</vt:lpstr>
      <vt:lpstr>Calibri Light</vt:lpstr>
      <vt:lpstr>Impact</vt:lpstr>
      <vt:lpstr>Open Sans</vt:lpstr>
      <vt:lpstr>Open Sans Light</vt:lpstr>
      <vt:lpstr>Times New Roman</vt:lpstr>
      <vt:lpstr>Тема Office</vt:lpstr>
      <vt:lpstr>Слайд think-cell</vt:lpstr>
      <vt:lpstr>«Решение задач по естественно-научной грамотности на уроках физики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ГРУППА КОМПАНИЙ ПРОСВЕЩЕНИЕ — СИСТЕМЕ ОБРАЗОВАНИЯ</dc:title>
  <dc:creator>Мегдальский Денис Игоревич</dc:creator>
  <cp:lastModifiedBy>have.no.sugar@gmail.com</cp:lastModifiedBy>
  <cp:revision>314</cp:revision>
  <dcterms:created xsi:type="dcterms:W3CDTF">2019-08-12T18:04:10Z</dcterms:created>
  <dcterms:modified xsi:type="dcterms:W3CDTF">2020-04-08T18:53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1F7D17AAC9B84D9B10D0E7E91C15BE</vt:lpwstr>
  </property>
  <property fmtid="{D5CDD505-2E9C-101B-9397-08002B2CF9AE}" pid="3" name="_dlc_DocIdItemGuid">
    <vt:lpwstr>d2209d5a-a830-46a0-a604-dee7a6ec83c4</vt:lpwstr>
  </property>
</Properties>
</file>